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5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6"/>
  </p:notesMasterIdLst>
  <p:sldIdLst>
    <p:sldId id="256" r:id="rId5"/>
    <p:sldId id="397" r:id="rId6"/>
    <p:sldId id="392" r:id="rId7"/>
    <p:sldId id="391" r:id="rId8"/>
    <p:sldId id="272" r:id="rId9"/>
    <p:sldId id="269" r:id="rId10"/>
    <p:sldId id="317" r:id="rId11"/>
    <p:sldId id="393" r:id="rId12"/>
    <p:sldId id="394" r:id="rId13"/>
    <p:sldId id="395" r:id="rId14"/>
    <p:sldId id="398" r:id="rId15"/>
  </p:sldIdLst>
  <p:sldSz cx="9906000" cy="6858000" type="A4"/>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16" userDrawn="1">
          <p15:clr>
            <a:srgbClr val="A4A3A4"/>
          </p15:clr>
        </p15:guide>
        <p15:guide id="2" pos="3369" userDrawn="1">
          <p15:clr>
            <a:srgbClr val="A4A3A4"/>
          </p15:clr>
        </p15:guide>
        <p15:guide id="3" orient="horz" pos="3838" userDrawn="1">
          <p15:clr>
            <a:srgbClr val="A4A3A4"/>
          </p15:clr>
        </p15:guide>
        <p15:guide id="4" orient="horz" pos="3543" userDrawn="1">
          <p15:clr>
            <a:srgbClr val="A4A3A4"/>
          </p15:clr>
        </p15:guide>
        <p15:guide id="5" pos="4118" userDrawn="1">
          <p15:clr>
            <a:srgbClr val="A4A3A4"/>
          </p15:clr>
        </p15:guide>
        <p15:guide id="6" orient="horz" pos="1230" userDrawn="1">
          <p15:clr>
            <a:srgbClr val="A4A3A4"/>
          </p15:clr>
        </p15:guide>
        <p15:guide id="7" orient="horz" pos="1146" userDrawn="1">
          <p15:clr>
            <a:srgbClr val="A4A3A4"/>
          </p15:clr>
        </p15:guide>
        <p15:guide id="8" pos="49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47678"/>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showGuides="1">
      <p:cViewPr varScale="1">
        <p:scale>
          <a:sx n="61" d="100"/>
          <a:sy n="61" d="100"/>
        </p:scale>
        <p:origin x="1458" y="78"/>
      </p:cViewPr>
      <p:guideLst>
        <p:guide pos="1816"/>
        <p:guide pos="3369"/>
        <p:guide orient="horz" pos="3838"/>
        <p:guide orient="horz" pos="3543"/>
        <p:guide pos="4118"/>
        <p:guide orient="horz" pos="1230"/>
        <p:guide orient="horz" pos="1146"/>
        <p:guide pos="4934"/>
      </p:guideLst>
    </p:cSldViewPr>
  </p:slideViewPr>
  <p:outlineViewPr>
    <p:cViewPr>
      <p:scale>
        <a:sx n="33" d="100"/>
        <a:sy n="33" d="100"/>
      </p:scale>
      <p:origin x="0" y="-10188"/>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56E36-BD60-4996-A54F-2A81A6579AC0}" type="datetimeFigureOut">
              <a:rPr lang="en-US" smtClean="0"/>
              <a:t>4/21/2017</a:t>
            </a:fld>
            <a:endParaRPr lang="en-US"/>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DB911-8F17-4492-BCBD-56AB6B438C36}" type="slidenum">
              <a:rPr lang="en-US" smtClean="0"/>
              <a:t>‹Nr.›</a:t>
            </a:fld>
            <a:endParaRPr lang="en-US"/>
          </a:p>
        </p:txBody>
      </p:sp>
    </p:spTree>
    <p:extLst>
      <p:ext uri="{BB962C8B-B14F-4D97-AF65-F5344CB8AC3E}">
        <p14:creationId xmlns:p14="http://schemas.microsoft.com/office/powerpoint/2010/main" val="1221088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a:t>
            </a:fld>
            <a:endParaRPr lang="en-US"/>
          </a:p>
        </p:txBody>
      </p:sp>
    </p:spTree>
    <p:extLst>
      <p:ext uri="{BB962C8B-B14F-4D97-AF65-F5344CB8AC3E}">
        <p14:creationId xmlns:p14="http://schemas.microsoft.com/office/powerpoint/2010/main" val="4100124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0</a:t>
            </a:fld>
            <a:endParaRPr lang="en-US"/>
          </a:p>
        </p:txBody>
      </p:sp>
    </p:spTree>
    <p:extLst>
      <p:ext uri="{BB962C8B-B14F-4D97-AF65-F5344CB8AC3E}">
        <p14:creationId xmlns:p14="http://schemas.microsoft.com/office/powerpoint/2010/main" val="3222021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11</a:t>
            </a:fld>
            <a:endParaRPr lang="en-US"/>
          </a:p>
        </p:txBody>
      </p:sp>
    </p:spTree>
    <p:extLst>
      <p:ext uri="{BB962C8B-B14F-4D97-AF65-F5344CB8AC3E}">
        <p14:creationId xmlns:p14="http://schemas.microsoft.com/office/powerpoint/2010/main" val="3510106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2FDB911-8F17-4492-BCBD-56AB6B438C36}" type="slidenum">
              <a:rPr lang="en-US" smtClean="0"/>
              <a:t>2</a:t>
            </a:fld>
            <a:endParaRPr lang="en-US"/>
          </a:p>
        </p:txBody>
      </p:sp>
    </p:spTree>
    <p:extLst>
      <p:ext uri="{BB962C8B-B14F-4D97-AF65-F5344CB8AC3E}">
        <p14:creationId xmlns:p14="http://schemas.microsoft.com/office/powerpoint/2010/main" val="1257492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3</a:t>
            </a:fld>
            <a:endParaRPr lang="en-US"/>
          </a:p>
        </p:txBody>
      </p:sp>
    </p:spTree>
    <p:extLst>
      <p:ext uri="{BB962C8B-B14F-4D97-AF65-F5344CB8AC3E}">
        <p14:creationId xmlns:p14="http://schemas.microsoft.com/office/powerpoint/2010/main" val="951673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4</a:t>
            </a:fld>
            <a:endParaRPr lang="en-US"/>
          </a:p>
        </p:txBody>
      </p:sp>
    </p:spTree>
    <p:extLst>
      <p:ext uri="{BB962C8B-B14F-4D97-AF65-F5344CB8AC3E}">
        <p14:creationId xmlns:p14="http://schemas.microsoft.com/office/powerpoint/2010/main" val="3620910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5</a:t>
            </a:fld>
            <a:endParaRPr lang="en-US"/>
          </a:p>
        </p:txBody>
      </p:sp>
    </p:spTree>
    <p:extLst>
      <p:ext uri="{BB962C8B-B14F-4D97-AF65-F5344CB8AC3E}">
        <p14:creationId xmlns:p14="http://schemas.microsoft.com/office/powerpoint/2010/main" val="326463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6</a:t>
            </a:fld>
            <a:endParaRPr lang="en-US"/>
          </a:p>
        </p:txBody>
      </p:sp>
    </p:spTree>
    <p:extLst>
      <p:ext uri="{BB962C8B-B14F-4D97-AF65-F5344CB8AC3E}">
        <p14:creationId xmlns:p14="http://schemas.microsoft.com/office/powerpoint/2010/main" val="13504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7</a:t>
            </a:fld>
            <a:endParaRPr lang="en-US"/>
          </a:p>
        </p:txBody>
      </p:sp>
    </p:spTree>
    <p:extLst>
      <p:ext uri="{BB962C8B-B14F-4D97-AF65-F5344CB8AC3E}">
        <p14:creationId xmlns:p14="http://schemas.microsoft.com/office/powerpoint/2010/main" val="2914432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8</a:t>
            </a:fld>
            <a:endParaRPr lang="en-US"/>
          </a:p>
        </p:txBody>
      </p:sp>
    </p:spTree>
    <p:extLst>
      <p:ext uri="{BB962C8B-B14F-4D97-AF65-F5344CB8AC3E}">
        <p14:creationId xmlns:p14="http://schemas.microsoft.com/office/powerpoint/2010/main" val="2678906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62FDB911-8F17-4492-BCBD-56AB6B438C36}" type="slidenum">
              <a:rPr lang="en-US" smtClean="0"/>
              <a:t>9</a:t>
            </a:fld>
            <a:endParaRPr lang="en-US"/>
          </a:p>
        </p:txBody>
      </p:sp>
    </p:spTree>
    <p:extLst>
      <p:ext uri="{BB962C8B-B14F-4D97-AF65-F5344CB8AC3E}">
        <p14:creationId xmlns:p14="http://schemas.microsoft.com/office/powerpoint/2010/main" val="680538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1 – </a:t>
            </a:r>
            <a:br>
              <a:rPr lang="en-GB" dirty="0" smtClean="0"/>
            </a:br>
            <a:r>
              <a:rPr lang="en-GB" dirty="0" smtClean="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9860921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2688"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52951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2"/>
          </p:nvPr>
        </p:nvSpPr>
        <p:spPr>
          <a:xfrm>
            <a:off x="6028690" y="1422400"/>
            <a:ext cx="340200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41506662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
        <p:nvSpPr>
          <p:cNvPr id="6" name="Title 5"/>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Tree>
    <p:extLst>
      <p:ext uri="{BB962C8B-B14F-4D97-AF65-F5344CB8AC3E}">
        <p14:creationId xmlns:p14="http://schemas.microsoft.com/office/powerpoint/2010/main" val="10761739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de-DE" smtClean="0"/>
              <a:t>Diagramm durch Klicken auf Symbol hinzufügen</a:t>
            </a:r>
            <a:endParaRPr lang="en-GB" dirty="0"/>
          </a:p>
        </p:txBody>
      </p:sp>
      <p:sp>
        <p:nvSpPr>
          <p:cNvPr id="2" name="Title 1"/>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de-DE" smtClean="0"/>
              <a:t>Diagramm durch Klicken auf Symbol hinzufügen</a:t>
            </a:r>
            <a:endParaRPr lang="en-GB" dirty="0" smtClean="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7" name="Text Placeholder 8"/>
          <p:cNvSpPr>
            <a:spLocks noGrp="1"/>
          </p:cNvSpPr>
          <p:nvPr>
            <p:ph type="body" sz="quarter" idx="10"/>
          </p:nvPr>
        </p:nvSpPr>
        <p:spPr>
          <a:xfrm>
            <a:off x="48894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de-DE" smtClean="0"/>
              <a:t>Diagramm durch Klicken auf Symbol hinzufügen</a:t>
            </a:r>
            <a:endParaRPr lang="en-GB" dirty="0" smtClean="0"/>
          </a:p>
        </p:txBody>
      </p:sp>
      <p:sp>
        <p:nvSpPr>
          <p:cNvPr id="9" name="Text Placeholder 8"/>
          <p:cNvSpPr>
            <a:spLocks noGrp="1"/>
          </p:cNvSpPr>
          <p:nvPr>
            <p:ph type="body" sz="quarter" idx="14"/>
          </p:nvPr>
        </p:nvSpPr>
        <p:spPr>
          <a:xfrm>
            <a:off x="3530999"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de-DE" smtClean="0"/>
              <a:t>Bild durch Klicken auf Symbol hinzufügen</a:t>
            </a:r>
            <a:endParaRPr lang="en-GB"/>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de-DE" smtClean="0"/>
              <a:t>Bild durch Klicken auf Symbol hinzufügen</a:t>
            </a:r>
            <a:endParaRPr lang="en-GB"/>
          </a:p>
        </p:txBody>
      </p:sp>
    </p:spTree>
    <p:extLst>
      <p:ext uri="{BB962C8B-B14F-4D97-AF65-F5344CB8AC3E}">
        <p14:creationId xmlns:p14="http://schemas.microsoft.com/office/powerpoint/2010/main" val="2900613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smtClean="0"/>
              <a:t>Title Slide 2 – </a:t>
            </a:r>
            <a:br>
              <a:rPr lang="en-GB" dirty="0" smtClean="0"/>
            </a:br>
            <a:r>
              <a:rPr lang="en-GB" dirty="0" smtClean="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48078355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8775981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26838659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de-DE" smtClean="0"/>
              <a:t>Titelmasterformat durch Klicken bearbeiten</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6957156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3" name="Title 2"/>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855353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de-DE" smtClean="0"/>
              <a:t>Textmasterformat bearbeiten</a:t>
            </a:r>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8996279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Title 3"/>
          <p:cNvSpPr>
            <a:spLocks noGrp="1"/>
          </p:cNvSpPr>
          <p:nvPr>
            <p:ph type="title"/>
          </p:nvPr>
        </p:nvSpPr>
        <p:spPr>
          <a:xfrm>
            <a:off x="488950" y="451575"/>
            <a:ext cx="8928100" cy="723600"/>
          </a:xfrm>
        </p:spPr>
        <p:txBody>
          <a:bodyPr/>
          <a:lstStyle/>
          <a:p>
            <a:r>
              <a:rPr lang="de-DE" smtClean="0"/>
              <a:t>Titelmasterformat durch Klicken bearbeiten</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10628604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smtClean="0"/>
              <a:t>Title slide 3</a:t>
            </a:r>
            <a:br>
              <a:rPr lang="en-GB" dirty="0" smtClean="0"/>
            </a:br>
            <a:r>
              <a:rPr lang="en-GB" dirty="0" smtClean="0"/>
              <a:t>light right vertical image</a:t>
            </a:r>
            <a:endParaRPr lang="en-US" dirty="0"/>
          </a:p>
        </p:txBody>
      </p:sp>
      <p:sp>
        <p:nvSpPr>
          <p:cNvPr id="11"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mtClean="0"/>
              <a:t>Titelmasterformat durch Klicken bearbeiten</a:t>
            </a:r>
            <a:endParaRPr lang="en-GB"/>
          </a:p>
        </p:txBody>
      </p:sp>
      <p:sp>
        <p:nvSpPr>
          <p:cNvPr id="16"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7"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8"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9"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4" y="6233914"/>
            <a:ext cx="1458955" cy="226590"/>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KPMG LLP, a UK limited liability partnership, is a member of KPMG International,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a Swiss cooperative</a:t>
            </a:r>
            <a:endParaRPr lang="en-US" sz="550" b="0" dirty="0">
              <a:solidFill>
                <a:schemeClr val="bg1">
                  <a:lumMod val="65000"/>
                </a:schemeClr>
              </a:solidFill>
              <a:latin typeface="+mn-lt"/>
              <a:cs typeface="Arial" panose="020B0604020202020204" pitchFamily="34" charset="0"/>
            </a:endParaRPr>
          </a:p>
        </p:txBody>
      </p:sp>
      <p:sp>
        <p:nvSpPr>
          <p:cNvPr id="12" name="Rectangle 7"/>
          <p:cNvSpPr>
            <a:spLocks noChangeArrowheads="1"/>
          </p:cNvSpPr>
          <p:nvPr userDrawn="1"/>
        </p:nvSpPr>
        <p:spPr bwMode="gray">
          <a:xfrm>
            <a:off x="6869995" y="6233914"/>
            <a:ext cx="1228504" cy="218653"/>
          </a:xfrm>
          <a:prstGeom prst="rect">
            <a:avLst/>
          </a:prstGeom>
          <a:noFill/>
          <a:ln w="6350">
            <a:noFill/>
            <a:miter lim="800000"/>
            <a:headEnd/>
            <a:tailEnd/>
          </a:ln>
          <a:effectLst/>
        </p:spPr>
        <p:txBody>
          <a:bodyPr lIns="0" tIns="0" rIns="0" bIns="0" anchor="t" anchorCtr="0"/>
          <a:lstStyle/>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in England No OC301540</a:t>
            </a:r>
          </a:p>
          <a:p>
            <a:pPr defTabSz="825475" eaLnBrk="0" hangingPunct="0">
              <a:tabLst>
                <a:tab pos="2856487" algn="ctr"/>
                <a:tab pos="5712972" algn="r"/>
              </a:tabLst>
            </a:pPr>
            <a:r>
              <a:rPr lang="en-US" sz="550" b="0" dirty="0" smtClean="0">
                <a:solidFill>
                  <a:schemeClr val="bg1">
                    <a:lumMod val="65000"/>
                  </a:schemeClr>
                </a:solidFill>
                <a:latin typeface="+mn-lt"/>
                <a:cs typeface="Arial" panose="020B0604020202020204" pitchFamily="34" charset="0"/>
              </a:rPr>
              <a:t>Registered office: 15 Canada Square, </a:t>
            </a:r>
            <a:br>
              <a:rPr lang="en-US" sz="550" b="0" dirty="0" smtClean="0">
                <a:solidFill>
                  <a:schemeClr val="bg1">
                    <a:lumMod val="65000"/>
                  </a:schemeClr>
                </a:solidFill>
                <a:latin typeface="+mn-lt"/>
                <a:cs typeface="Arial" panose="020B0604020202020204" pitchFamily="34" charset="0"/>
              </a:rPr>
            </a:br>
            <a:r>
              <a:rPr lang="en-US" sz="550" b="0" dirty="0" smtClean="0">
                <a:solidFill>
                  <a:schemeClr val="bg1">
                    <a:lumMod val="65000"/>
                  </a:schemeClr>
                </a:solidFill>
                <a:latin typeface="+mn-lt"/>
                <a:cs typeface="Arial" panose="020B0604020202020204" pitchFamily="34" charset="0"/>
              </a:rPr>
              <a:t>London E14 5GL </a:t>
            </a:r>
            <a:endParaRPr lang="en-US" sz="550" b="0" dirty="0">
              <a:solidFill>
                <a:schemeClr val="bg1">
                  <a:lumMod val="65000"/>
                </a:schemeClr>
              </a:solidFill>
              <a:latin typeface="+mn-lt"/>
              <a:cs typeface="Arial" panose="020B0604020202020204" pitchFamily="34" charset="0"/>
            </a:endParaRPr>
          </a:p>
        </p:txBody>
      </p:sp>
      <p:sp>
        <p:nvSpPr>
          <p:cNvPr id="13" name="Rectangle 6"/>
          <p:cNvSpPr>
            <a:spLocks noChangeArrowheads="1"/>
          </p:cNvSpPr>
          <p:nvPr userDrawn="1"/>
        </p:nvSpPr>
        <p:spPr bwMode="gray">
          <a:xfrm>
            <a:off x="3351380" y="6233914"/>
            <a:ext cx="1889785" cy="310198"/>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KPMG Audit </a:t>
            </a:r>
            <a:r>
              <a:rPr lang="en-US" sz="550" dirty="0" err="1" smtClean="0">
                <a:solidFill>
                  <a:schemeClr val="bg1">
                    <a:lumMod val="65000"/>
                  </a:schemeClr>
                </a:solidFill>
                <a:latin typeface="+mn-lt"/>
                <a:cs typeface="Arial" panose="020B0604020202020204" pitchFamily="34" charset="0"/>
              </a:rPr>
              <a:t>Plc</a:t>
            </a:r>
            <a:r>
              <a:rPr lang="en-US" sz="550" dirty="0" smtClean="0">
                <a:solidFill>
                  <a:schemeClr val="bg1">
                    <a:lumMod val="65000"/>
                  </a:schemeClr>
                </a:solidFill>
                <a:latin typeface="+mn-lt"/>
                <a:cs typeface="Arial" panose="020B0604020202020204" pitchFamily="34" charset="0"/>
              </a:rPr>
              <a:t>, a company incorporated under th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UK Companies Acts, is a member of KPMG International,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a Swiss cooperative</a:t>
            </a:r>
            <a:endParaRPr lang="en-US" sz="550" dirty="0">
              <a:solidFill>
                <a:schemeClr val="bg1">
                  <a:lumMod val="65000"/>
                </a:schemeClr>
              </a:solidFill>
              <a:latin typeface="+mn-lt"/>
              <a:cs typeface="Arial" panose="020B0604020202020204" pitchFamily="34" charset="0"/>
            </a:endParaRPr>
          </a:p>
        </p:txBody>
      </p:sp>
      <p:sp>
        <p:nvSpPr>
          <p:cNvPr id="15" name="Rectangle 7"/>
          <p:cNvSpPr>
            <a:spLocks noChangeArrowheads="1"/>
          </p:cNvSpPr>
          <p:nvPr userDrawn="1"/>
        </p:nvSpPr>
        <p:spPr bwMode="gray">
          <a:xfrm>
            <a:off x="5429275" y="6233914"/>
            <a:ext cx="1252610" cy="218653"/>
          </a:xfrm>
          <a:prstGeom prst="rect">
            <a:avLst/>
          </a:prstGeom>
          <a:noFill/>
          <a:ln w="6350">
            <a:noFill/>
            <a:miter lim="800000"/>
            <a:headEnd/>
            <a:tailEnd/>
          </a:ln>
          <a:effectLst/>
        </p:spPr>
        <p:txBody>
          <a:bodyPr lIns="0" tIns="0" rIns="0" bIns="0" anchor="t" anchorCtr="0"/>
          <a:lstStyle/>
          <a:p>
            <a:r>
              <a:rPr lang="en-US" sz="550" dirty="0" smtClean="0">
                <a:solidFill>
                  <a:schemeClr val="bg1">
                    <a:lumMod val="65000"/>
                  </a:schemeClr>
                </a:solidFill>
                <a:latin typeface="+mn-lt"/>
                <a:cs typeface="Arial" panose="020B0604020202020204" pitchFamily="34" charset="0"/>
              </a:rPr>
              <a:t>Registered in England No 3110745</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Registered office: 15 Canada Square, </a:t>
            </a:r>
            <a:br>
              <a:rPr lang="en-US" sz="550" dirty="0" smtClean="0">
                <a:solidFill>
                  <a:schemeClr val="bg1">
                    <a:lumMod val="65000"/>
                  </a:schemeClr>
                </a:solidFill>
                <a:latin typeface="+mn-lt"/>
                <a:cs typeface="Arial" panose="020B0604020202020204" pitchFamily="34" charset="0"/>
              </a:rPr>
            </a:br>
            <a:r>
              <a:rPr lang="en-US" sz="550" dirty="0" smtClean="0">
                <a:solidFill>
                  <a:schemeClr val="bg1">
                    <a:lumMod val="65000"/>
                  </a:schemeClr>
                </a:solidFill>
                <a:latin typeface="+mn-lt"/>
                <a:cs typeface="Arial" panose="020B0604020202020204" pitchFamily="34" charset="0"/>
              </a:rPr>
              <a:t>London E14 5GL </a:t>
            </a:r>
            <a:endParaRPr lang="en-US" sz="550" dirty="0">
              <a:solidFill>
                <a:schemeClr val="bg1">
                  <a:lumMod val="65000"/>
                </a:schemeClr>
              </a:solidFill>
              <a:latin typeface="+mn-lt"/>
              <a:cs typeface="Arial" panose="020B0604020202020204" pitchFamily="34" charset="0"/>
            </a:endParaRP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de-DE" smtClean="0"/>
              <a:t>Titelmasterformat durch Klicken bearbeiten</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413690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chemeClr val="bg1"/>
                </a:solidFill>
                <a:latin typeface="+mj-lt"/>
              </a:defRPr>
            </a:lvl1pPr>
          </a:lstStyle>
          <a:p>
            <a:pPr lvl="0"/>
            <a:r>
              <a:rPr lang="de-DE" smtClean="0"/>
              <a:t>Textmasterformat bearbeiten</a:t>
            </a:r>
          </a:p>
        </p:txBody>
      </p:sp>
      <p:sp>
        <p:nvSpPr>
          <p:cNvPr id="9" name="Text Placeholder 10"/>
          <p:cNvSpPr>
            <a:spLocks noGrp="1"/>
          </p:cNvSpPr>
          <p:nvPr>
            <p:ph type="body" sz="quarter" idx="11"/>
          </p:nvPr>
        </p:nvSpPr>
        <p:spPr>
          <a:xfrm>
            <a:off x="4659580" y="1435735"/>
            <a:ext cx="3740400"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a:p>
            <a:pPr lvl="1"/>
            <a:r>
              <a:rPr lang="de-DE" smtClean="0"/>
              <a:t>Zweite Ebene</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de-DE" smtClean="0"/>
              <a:t>Textmasterformat bearbeiten</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36" name="Text Placeholder 2"/>
          <p:cNvSpPr>
            <a:spLocks noGrp="1"/>
          </p:cNvSpPr>
          <p:nvPr>
            <p:ph type="body" sz="quarter" idx="13" hasCustomPrompt="1"/>
          </p:nvPr>
        </p:nvSpPr>
        <p:spPr>
          <a:xfrm>
            <a:off x="1715999" y="5469180"/>
            <a:ext cx="7375525" cy="554037"/>
          </a:xfrm>
        </p:spPr>
        <p:txBody>
          <a:bodyPr anchor="b"/>
          <a:lstStyle>
            <a:lvl1pPr>
              <a:buFontTx/>
              <a:buNone/>
              <a:defRPr sz="600" b="0">
                <a:solidFill>
                  <a:schemeClr val="tx1">
                    <a:lumMod val="65000"/>
                    <a:lumOff val="35000"/>
                  </a:schemeClr>
                </a:solidFill>
              </a:defRPr>
            </a:lvl1pPr>
            <a:lvl2pPr>
              <a:buFontTx/>
              <a:buNone/>
              <a:defRPr sz="600" b="0">
                <a:solidFill>
                  <a:schemeClr val="tx1">
                    <a:lumMod val="65000"/>
                    <a:lumOff val="3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smtClean="0"/>
              <a:t>Internal use only. </a:t>
            </a:r>
          </a:p>
          <a:p>
            <a:pPr lvl="0"/>
            <a:r>
              <a:rPr lang="en-US" dirty="0" smtClean="0"/>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37" name="Title 2"/>
          <p:cNvSpPr>
            <a:spLocks noGrp="1"/>
          </p:cNvSpPr>
          <p:nvPr>
            <p:ph type="title"/>
          </p:nvPr>
        </p:nvSpPr>
        <p:spPr>
          <a:xfrm>
            <a:off x="1715999" y="451575"/>
            <a:ext cx="7701051" cy="723600"/>
          </a:xfrm>
        </p:spPr>
        <p:txBody>
          <a:bodyPr/>
          <a:lstStyle/>
          <a:p>
            <a:r>
              <a:rPr lang="de-DE" dirty="0" smtClean="0"/>
              <a:t>Titelmasterformat durch Klicken bearbeiten</a:t>
            </a:r>
            <a:endParaRPr lang="en-GB" dirty="0"/>
          </a:p>
        </p:txBody>
      </p:sp>
      <p:sp>
        <p:nvSpPr>
          <p:cNvPr id="38" name="Text Placeholder 7"/>
          <p:cNvSpPr>
            <a:spLocks noGrp="1"/>
          </p:cNvSpPr>
          <p:nvPr>
            <p:ph type="body" sz="quarter" idx="29"/>
          </p:nvPr>
        </p:nvSpPr>
        <p:spPr>
          <a:xfrm>
            <a:off x="1715999" y="2008722"/>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39" name="Text Placeholder 7"/>
          <p:cNvSpPr>
            <a:spLocks noGrp="1"/>
          </p:cNvSpPr>
          <p:nvPr>
            <p:ph type="body" sz="quarter" idx="28"/>
          </p:nvPr>
        </p:nvSpPr>
        <p:spPr>
          <a:xfrm>
            <a:off x="5817050" y="2008721"/>
            <a:ext cx="3600000" cy="2114313"/>
          </a:xfrm>
          <a:prstGeom prst="rect">
            <a:avLst/>
          </a:prstGeom>
        </p:spPr>
        <p:txBody>
          <a:bodyPr vert="horz" lIns="0" tIns="45720" rIns="0" bIns="0">
            <a:noAutofit/>
          </a:bodyPr>
          <a:lstStyle>
            <a:lvl1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1pPr>
            <a:lvl2pPr marL="0" marR="0" indent="0" algn="l" defTabSz="914400" rtl="0" eaLnBrk="1" fontAlgn="auto" latinLnBrk="0" hangingPunct="1">
              <a:lnSpc>
                <a:spcPct val="100000"/>
              </a:lnSpc>
              <a:spcBef>
                <a:spcPts val="0"/>
              </a:spcBef>
              <a:spcAft>
                <a:spcPts val="600"/>
              </a:spcAft>
              <a:buClrTx/>
              <a:buSzTx/>
              <a:buFontTx/>
              <a:buNone/>
              <a:tabLst/>
              <a:defRPr sz="900">
                <a:solidFill>
                  <a:srgbClr val="00338D"/>
                </a:solidFill>
                <a:latin typeface="+mn-lt"/>
                <a:cs typeface="Arial" panose="020B0604020202020204" pitchFamily="34" charset="0"/>
              </a:defRPr>
            </a:lvl2pPr>
            <a:lvl3pPr marL="21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de-DE" sz="900" b="0" i="0" dirty="0" smtClean="0">
                <a:solidFill>
                  <a:schemeClr val="tx2"/>
                </a:solidFill>
                <a:latin typeface="+mn-lt"/>
                <a:cs typeface="Arial" panose="020B0604020202020204" pitchFamily="34" charset="0"/>
              </a:defRPr>
            </a:lvl3pPr>
            <a:lvl4pPr marL="360000" marR="0"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rgbClr val="00338D"/>
                </a:solidFill>
                <a:latin typeface="+mn-lt"/>
                <a:cs typeface="Arial" panose="020B0604020202020204" pitchFamily="34" charset="0"/>
              </a:defRPr>
            </a:lvl4pPr>
            <a:lvl5pPr marL="576000" marR="0"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lang="en-US" sz="900" b="0" i="0" dirty="0" smtClean="0">
                <a:solidFill>
                  <a:schemeClr val="tx2"/>
                </a:solidFill>
                <a:latin typeface="+mn-lt"/>
                <a:cs typeface="Arial" panose="020B0604020202020204" pitchFamily="34" charset="0"/>
              </a:defRPr>
            </a:lvl5pPr>
            <a:lvl6pPr>
              <a:defRPr/>
            </a:lvl6pPr>
            <a:lvl7pPr>
              <a:defRPr/>
            </a:lvl7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900" b="1" i="0" u="none" strike="noStrike" kern="1200" cap="none" spc="0" normalizeH="0" baseline="0" noProof="0" dirty="0" smtClean="0">
                <a:ln>
                  <a:noFill/>
                </a:ln>
                <a:solidFill>
                  <a:srgbClr val="00338D"/>
                </a:solidFill>
                <a:effectLst/>
                <a:uLnTx/>
                <a:uFillTx/>
                <a:latin typeface="+mn-lt"/>
                <a:ea typeface="+mn-ea"/>
                <a:cs typeface="+mn-cs"/>
              </a:rPr>
              <a:t>Textmasterformat bearbeiten</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Zweite Ebene</a:t>
            </a:r>
          </a:p>
          <a:p>
            <a:pPr marL="216000" marR="0" lvl="2"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Dritte Ebene</a:t>
            </a:r>
          </a:p>
          <a:p>
            <a:pPr marL="360000" marR="0" lvl="3" indent="-144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de-DE" sz="900" b="0" i="0" u="none" strike="noStrike" kern="1200" cap="none" spc="0" normalizeH="0" baseline="0" noProof="0" dirty="0" smtClean="0">
                <a:ln>
                  <a:noFill/>
                </a:ln>
                <a:solidFill>
                  <a:srgbClr val="000000"/>
                </a:solidFill>
                <a:effectLst/>
                <a:uLnTx/>
                <a:uFillTx/>
                <a:latin typeface="+mn-lt"/>
                <a:ea typeface="+mn-ea"/>
                <a:cs typeface="+mn-cs"/>
              </a:rPr>
              <a:t>Fünfte Ebene</a:t>
            </a:r>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21858021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r="3611"/>
          <a:stretch/>
        </p:blipFill>
        <p:spPr>
          <a:xfrm>
            <a:off x="0" y="0"/>
            <a:ext cx="9915525"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smtClean="0"/>
              <a:t>Title slide 6</a:t>
            </a:r>
            <a:br>
              <a:rPr lang="en-GB" dirty="0" smtClean="0"/>
            </a:br>
            <a:r>
              <a:rPr lang="en-GB" dirty="0" smtClean="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7" name="TextBox 16"/>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8" name="TextBox 17"/>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2" name="TextBox 21"/>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smtClean="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1339038"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LLP, a UK limited liability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partnership, is a member of KPMG International, a Swiss cooperative</a:t>
            </a:r>
          </a:p>
        </p:txBody>
      </p:sp>
      <p:sp>
        <p:nvSpPr>
          <p:cNvPr id="14" name="TextBox 13"/>
          <p:cNvSpPr txBox="1"/>
          <p:nvPr userDrawn="1"/>
        </p:nvSpPr>
        <p:spPr>
          <a:xfrm>
            <a:off x="3392507" y="6320118"/>
            <a:ext cx="165537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Audit Plc, a company incorporated under the UK Companies Acts, is a member of KPMG International, a Swiss cooperative</a:t>
            </a:r>
          </a:p>
        </p:txBody>
      </p:sp>
      <p:sp>
        <p:nvSpPr>
          <p:cNvPr id="15" name="TextBox 14"/>
          <p:cNvSpPr txBox="1"/>
          <p:nvPr userDrawn="1"/>
        </p:nvSpPr>
        <p:spPr>
          <a:xfrm>
            <a:off x="5225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3110745</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6" name="TextBox 15"/>
          <p:cNvSpPr txBox="1"/>
          <p:nvPr userDrawn="1"/>
        </p:nvSpPr>
        <p:spPr>
          <a:xfrm>
            <a:off x="6794591" y="6320118"/>
            <a:ext cx="1546299"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in England No OC3015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Registered office: 15 Canada Square, </a:t>
            </a:r>
            <a:br>
              <a:rPr lang="en-GB" sz="600" kern="1200" noProof="0" dirty="0" smtClean="0">
                <a:solidFill>
                  <a:schemeClr val="bg1">
                    <a:lumMod val="65000"/>
                  </a:schemeClr>
                </a:solidFill>
                <a:latin typeface="+mn-lt"/>
                <a:ea typeface="+mn-ea"/>
                <a:cs typeface="+mn-cs"/>
              </a:rPr>
            </a:br>
            <a:r>
              <a:rPr lang="en-GB" sz="600" kern="1200" noProof="0" dirty="0" smtClean="0">
                <a:solidFill>
                  <a:schemeClr val="bg1">
                    <a:lumMod val="65000"/>
                  </a:schemeClr>
                </a:solidFill>
                <a:latin typeface="+mn-lt"/>
                <a:ea typeface="+mn-ea"/>
                <a:cs typeface="+mn-cs"/>
              </a:rPr>
              <a:t>London E14 5GL </a:t>
            </a:r>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r.›</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873587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ext Placeholder 8"/>
          <p:cNvSpPr>
            <a:spLocks noGrp="1"/>
          </p:cNvSpPr>
          <p:nvPr>
            <p:ph type="body" sz="quarter" idx="11"/>
          </p:nvPr>
        </p:nvSpPr>
        <p:spPr>
          <a:xfrm>
            <a:off x="2451100" y="1422400"/>
            <a:ext cx="6965950" cy="4604400"/>
          </a:xfrm>
          <a:ln>
            <a:noFill/>
          </a:ln>
        </p:spPr>
        <p:txBody>
          <a:bodyPr lIns="0" tIns="0" rIns="0" bIns="0" anchor="t" anchorCtr="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3" name="Title 2"/>
          <p:cNvSpPr>
            <a:spLocks noGrp="1"/>
          </p:cNvSpPr>
          <p:nvPr>
            <p:ph type="title"/>
          </p:nvPr>
        </p:nvSpPr>
        <p:spPr/>
        <p:txBody>
          <a:bodyPr/>
          <a:lstStyle/>
          <a:p>
            <a:r>
              <a:rPr lang="de-DE" smtClean="0"/>
              <a:t>Titelmasterformat durch Klicken bearbeiten</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9882970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Nr.›</a:t>
            </a:fld>
            <a:endParaRPr lang="en-US" sz="900" dirty="0">
              <a:solidFill>
                <a:schemeClr val="tx2"/>
              </a:solidFill>
              <a:latin typeface="+mn-lt"/>
              <a:ea typeface="Arial"/>
              <a:cs typeface="Arial" panose="020B0604020202020204" pitchFamily="34" charset="0"/>
            </a:endParaRP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custDataLst>
              <p:tags r:id="rId37"/>
            </p:custDataLst>
          </p:nvPr>
        </p:nvSpPr>
        <p:spPr>
          <a:xfrm>
            <a:off x="1548364" y="6320118"/>
            <a:ext cx="68445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lumMod val="65000"/>
                  </a:schemeClr>
                </a:solidFill>
                <a:latin typeface="+mn-lt"/>
                <a:ea typeface="+mn-ea"/>
                <a:cs typeface="+mn-cs"/>
              </a:rPr>
              <a:t>© 2017 KPMG International Cooperative (“KPMG International”). KPMG International provides no client services and is a Swiss entity with which the independent member firms of the KPMG network are affiliated.</a:t>
            </a:r>
            <a:endParaRPr lang="en-US"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675" r:id="rId4"/>
    <p:sldLayoutId id="2147483680"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 id="2147483732" r:id="rId35"/>
  </p:sldLayoutIdLst>
  <p:timing>
    <p:tnLst>
      <p:par>
        <p:cTn id="1" dur="indefinite" restart="never" nodeType="tmRoot"/>
      </p:par>
    </p:tnLst>
  </p:timing>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1"/>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1"/>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vmlDrawing" Target="../drawings/vmlDrawing1.vml"/><Relationship Id="rId5" Type="http://schemas.openxmlformats.org/officeDocument/2006/relationships/image" Target="../media/image5.wmf"/><Relationship Id="rId4" Type="http://schemas.openxmlformats.org/officeDocument/2006/relationships/package" Target="../embeddings/Microsoft_Excel-Arbeitsblatt1.xlsx"/></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14.png"/><Relationship Id="rId18" Type="http://schemas.openxmlformats.org/officeDocument/2006/relationships/image" Target="../media/image30.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2.png"/><Relationship Id="rId17" Type="http://schemas.openxmlformats.org/officeDocument/2006/relationships/image" Target="../media/image29.png"/><Relationship Id="rId2" Type="http://schemas.openxmlformats.org/officeDocument/2006/relationships/tags" Target="../tags/tag44.xml"/><Relationship Id="rId16" Type="http://schemas.openxmlformats.org/officeDocument/2006/relationships/image" Target="../media/image28.emf"/><Relationship Id="rId20" Type="http://schemas.openxmlformats.org/officeDocument/2006/relationships/image" Target="../media/image5.wmf"/><Relationship Id="rId1" Type="http://schemas.openxmlformats.org/officeDocument/2006/relationships/vmlDrawing" Target="../drawings/vmlDrawing3.vml"/><Relationship Id="rId6" Type="http://schemas.openxmlformats.org/officeDocument/2006/relationships/tags" Target="../tags/tag48.xml"/><Relationship Id="rId11" Type="http://schemas.openxmlformats.org/officeDocument/2006/relationships/image" Target="../media/image10.png"/><Relationship Id="rId5" Type="http://schemas.openxmlformats.org/officeDocument/2006/relationships/tags" Target="../tags/tag47.xml"/><Relationship Id="rId15" Type="http://schemas.openxmlformats.org/officeDocument/2006/relationships/image" Target="../media/image27.emf"/><Relationship Id="rId10" Type="http://schemas.openxmlformats.org/officeDocument/2006/relationships/notesSlide" Target="../notesSlides/notesSlide10.xml"/><Relationship Id="rId19" Type="http://schemas.openxmlformats.org/officeDocument/2006/relationships/package" Target="../embeddings/Microsoft_Excel-Arbeitsblatt3.xlsx"/><Relationship Id="rId4" Type="http://schemas.openxmlformats.org/officeDocument/2006/relationships/tags" Target="../tags/tag46.xml"/><Relationship Id="rId9" Type="http://schemas.openxmlformats.org/officeDocument/2006/relationships/slideLayout" Target="../slideLayouts/slideLayout11.xml"/><Relationship Id="rId1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emf"/><Relationship Id="rId2" Type="http://schemas.openxmlformats.org/officeDocument/2006/relationships/tags" Target="../tags/tag3.xml"/><Relationship Id="rId16" Type="http://schemas.openxmlformats.org/officeDocument/2006/relationships/image" Target="../media/image5.w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6.emf"/><Relationship Id="rId5" Type="http://schemas.openxmlformats.org/officeDocument/2006/relationships/tags" Target="../tags/tag6.xml"/><Relationship Id="rId15" Type="http://schemas.openxmlformats.org/officeDocument/2006/relationships/package" Target="../embeddings/Microsoft_Excel-Arbeitsblatt2.xlsx"/><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13.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2.png"/><Relationship Id="rId18" Type="http://schemas.openxmlformats.org/officeDocument/2006/relationships/image" Target="../media/image10.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notesSlide" Target="../notesSlides/notesSlide7.xml"/><Relationship Id="rId17" Type="http://schemas.openxmlformats.org/officeDocument/2006/relationships/image" Target="../media/image11.png"/><Relationship Id="rId2" Type="http://schemas.openxmlformats.org/officeDocument/2006/relationships/tags" Target="../tags/tag11.xml"/><Relationship Id="rId16" Type="http://schemas.openxmlformats.org/officeDocument/2006/relationships/image" Target="../media/image16.emf"/><Relationship Id="rId20" Type="http://schemas.openxmlformats.org/officeDocument/2006/relationships/image" Target="../media/image18.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slideLayout" Target="../slideLayouts/slideLayout11.xml"/><Relationship Id="rId5" Type="http://schemas.openxmlformats.org/officeDocument/2006/relationships/tags" Target="../tags/tag14.xml"/><Relationship Id="rId15" Type="http://schemas.openxmlformats.org/officeDocument/2006/relationships/image" Target="../media/image15.emf"/><Relationship Id="rId10" Type="http://schemas.openxmlformats.org/officeDocument/2006/relationships/tags" Target="../tags/tag19.xml"/><Relationship Id="rId19" Type="http://schemas.openxmlformats.org/officeDocument/2006/relationships/image" Target="../media/image17.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12.png"/><Relationship Id="rId3" Type="http://schemas.openxmlformats.org/officeDocument/2006/relationships/tags" Target="../tags/tag22.xml"/><Relationship Id="rId21" Type="http://schemas.openxmlformats.org/officeDocument/2006/relationships/image" Target="../media/image19.emf"/><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10.png"/><Relationship Id="rId2" Type="http://schemas.openxmlformats.org/officeDocument/2006/relationships/tags" Target="../tags/tag21.xml"/><Relationship Id="rId16" Type="http://schemas.openxmlformats.org/officeDocument/2006/relationships/notesSlide" Target="../notesSlides/notesSlide8.xml"/><Relationship Id="rId20"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22.png"/><Relationship Id="rId5" Type="http://schemas.openxmlformats.org/officeDocument/2006/relationships/tags" Target="../tags/tag24.xml"/><Relationship Id="rId15" Type="http://schemas.openxmlformats.org/officeDocument/2006/relationships/slideLayout" Target="../slideLayouts/slideLayout11.xml"/><Relationship Id="rId23" Type="http://schemas.openxmlformats.org/officeDocument/2006/relationships/image" Target="../media/image21.png"/><Relationship Id="rId10" Type="http://schemas.openxmlformats.org/officeDocument/2006/relationships/tags" Target="../tags/tag29.xml"/><Relationship Id="rId19" Type="http://schemas.openxmlformats.org/officeDocument/2006/relationships/image" Target="../media/image14.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20.emf"/></Relationships>
</file>

<file path=ppt/slides/_rels/slide9.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23.emf"/><Relationship Id="rId18" Type="http://schemas.openxmlformats.org/officeDocument/2006/relationships/image" Target="../media/image24.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notesSlide" Target="../notesSlides/notesSlide9.xml"/><Relationship Id="rId17" Type="http://schemas.openxmlformats.org/officeDocument/2006/relationships/image" Target="../media/image11.png"/><Relationship Id="rId2" Type="http://schemas.openxmlformats.org/officeDocument/2006/relationships/tags" Target="../tags/tag35.xml"/><Relationship Id="rId16" Type="http://schemas.openxmlformats.org/officeDocument/2006/relationships/image" Target="../media/image14.png"/><Relationship Id="rId20" Type="http://schemas.openxmlformats.org/officeDocument/2006/relationships/image" Target="../media/image26.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11.xml"/><Relationship Id="rId5" Type="http://schemas.openxmlformats.org/officeDocument/2006/relationships/tags" Target="../tags/tag38.xml"/><Relationship Id="rId15" Type="http://schemas.openxmlformats.org/officeDocument/2006/relationships/image" Target="../media/image12.png"/><Relationship Id="rId10" Type="http://schemas.openxmlformats.org/officeDocument/2006/relationships/tags" Target="../tags/tag43.xml"/><Relationship Id="rId19" Type="http://schemas.openxmlformats.org/officeDocument/2006/relationships/image" Target="../media/image25.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0000" noProof="0" dirty="0" smtClean="0"/>
              <a:t>Workbook</a:t>
            </a:r>
            <a:br>
              <a:rPr lang="en-US" sz="10000" noProof="0" dirty="0" smtClean="0"/>
            </a:br>
            <a:r>
              <a:rPr lang="en-US" sz="10000" noProof="0" dirty="0" smtClean="0"/>
              <a:t>Investments (Planning)</a:t>
            </a:r>
            <a:endParaRPr lang="en-US" sz="10000" noProof="0" dirty="0"/>
          </a:p>
        </p:txBody>
      </p:sp>
      <p:sp>
        <p:nvSpPr>
          <p:cNvPr id="5" name="Subtitle 4"/>
          <p:cNvSpPr>
            <a:spLocks noGrp="1"/>
          </p:cNvSpPr>
          <p:nvPr>
            <p:ph type="body" sz="quarter" idx="11"/>
          </p:nvPr>
        </p:nvSpPr>
        <p:spPr/>
        <p:txBody>
          <a:bodyPr/>
          <a:lstStyle/>
          <a:p>
            <a:r>
              <a:rPr lang="en-US" noProof="0" dirty="0" smtClean="0"/>
              <a:t>Internal Use Only</a:t>
            </a:r>
          </a:p>
          <a:p>
            <a:endParaRPr lang="en-US" noProof="0" dirty="0" smtClean="0"/>
          </a:p>
          <a:p>
            <a:pPr lvl="1"/>
            <a:r>
              <a:rPr lang="en-US" noProof="0" dirty="0" smtClean="0"/>
              <a:t>April 2017</a:t>
            </a:r>
            <a:endParaRPr lang="en-US" noProof="0" dirty="0"/>
          </a:p>
        </p:txBody>
      </p:sp>
      <p:sp>
        <p:nvSpPr>
          <p:cNvPr id="8" name="Rechteck 7"/>
          <p:cNvSpPr/>
          <p:nvPr/>
        </p:nvSpPr>
        <p:spPr>
          <a:xfrm>
            <a:off x="-1266825" y="5448300"/>
            <a:ext cx="1190625" cy="14097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ctr"/>
            <a:r>
              <a:rPr lang="en-US" sz="900" dirty="0" smtClean="0">
                <a:solidFill>
                  <a:schemeClr val="bg1"/>
                </a:solidFill>
              </a:rPr>
              <a:t>EXCEL FILE:</a:t>
            </a:r>
          </a:p>
        </p:txBody>
      </p:sp>
      <p:graphicFrame>
        <p:nvGraphicFramePr>
          <p:cNvPr id="2" name="Objekt 1"/>
          <p:cNvGraphicFramePr>
            <a:graphicFrameLocks noChangeAspect="1"/>
          </p:cNvGraphicFramePr>
          <p:nvPr>
            <p:extLst>
              <p:ext uri="{D42A27DB-BD31-4B8C-83A1-F6EECF244321}">
                <p14:modId xmlns:p14="http://schemas.microsoft.com/office/powerpoint/2010/main" val="2757460981"/>
              </p:ext>
            </p:extLst>
          </p:nvPr>
        </p:nvGraphicFramePr>
        <p:xfrm>
          <a:off x="-1128713" y="5916734"/>
          <a:ext cx="914400" cy="771525"/>
        </p:xfrm>
        <a:graphic>
          <a:graphicData uri="http://schemas.openxmlformats.org/presentationml/2006/ole">
            <mc:AlternateContent xmlns:mc="http://schemas.openxmlformats.org/markup-compatibility/2006">
              <mc:Choice xmlns:v="urn:schemas-microsoft-com:vml" Requires="v">
                <p:oleObj spid="_x0000_s14454" name="Arbeitsblatt" showAsIcon="1" r:id="rId4" imgW="914400" imgH="771480" progId="Excel.Sheet.12">
                  <p:embed/>
                </p:oleObj>
              </mc:Choice>
              <mc:Fallback>
                <p:oleObj name="Arbeitsblatt" showAsIcon="1" r:id="rId4" imgW="914400" imgH="771480" progId="Excel.Sheet.12">
                  <p:embed/>
                  <p:pic>
                    <p:nvPicPr>
                      <p:cNvPr id="0" name=""/>
                      <p:cNvPicPr/>
                      <p:nvPr/>
                    </p:nvPicPr>
                    <p:blipFill>
                      <a:blip r:embed="rId5"/>
                      <a:stretch>
                        <a:fillRect/>
                      </a:stretch>
                    </p:blipFill>
                    <p:spPr>
                      <a:xfrm>
                        <a:off x="-1128713" y="591673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38289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noProof="0" dirty="0"/>
              <a:t>The investment ratio of the XXX AG is in the range of comparable companies and the level expected by analysts.</a:t>
            </a:r>
          </a:p>
        </p:txBody>
      </p:sp>
      <p:sp>
        <p:nvSpPr>
          <p:cNvPr id="5" name="Textplatzhalter 4"/>
          <p:cNvSpPr>
            <a:spLocks noGrp="1"/>
          </p:cNvSpPr>
          <p:nvPr>
            <p:ph type="body" sz="quarter" idx="12"/>
          </p:nvPr>
        </p:nvSpPr>
        <p:spPr/>
        <p:txBody>
          <a:bodyPr/>
          <a:lstStyle/>
          <a:p>
            <a:pPr>
              <a:lnSpc>
                <a:spcPct val="95000"/>
              </a:lnSpc>
              <a:spcBef>
                <a:spcPts val="300"/>
              </a:spcBef>
            </a:pPr>
            <a:r>
              <a:rPr lang="en-US" noProof="0" dirty="0" smtClean="0"/>
              <a:t>XXX</a:t>
            </a:r>
          </a:p>
          <a:p>
            <a:pPr lvl="2">
              <a:lnSpc>
                <a:spcPct val="95000"/>
              </a:lnSpc>
              <a:spcBef>
                <a:spcPts val="300"/>
              </a:spcBef>
            </a:pPr>
            <a:r>
              <a:rPr lang="en-US" noProof="0" dirty="0" smtClean="0"/>
              <a:t>[.... Description of the relationship of XXX AG to peers ...]</a:t>
            </a:r>
          </a:p>
          <a:p>
            <a:pPr lvl="2">
              <a:lnSpc>
                <a:spcPct val="95000"/>
              </a:lnSpc>
              <a:spcBef>
                <a:spcPts val="300"/>
              </a:spcBef>
            </a:pPr>
            <a:r>
              <a:rPr lang="en-US" noProof="0" dirty="0" smtClean="0"/>
              <a:t>[.... If there are deviations, explanation of reasons for such or consequences resulting for investment planning, growth and margin assumptions, etc. ....]</a:t>
            </a:r>
          </a:p>
          <a:p>
            <a:pPr marL="0" lvl="2" indent="0">
              <a:lnSpc>
                <a:spcPct val="95000"/>
              </a:lnSpc>
              <a:spcBef>
                <a:spcPts val="300"/>
              </a:spcBef>
              <a:buNone/>
            </a:pPr>
            <a:endParaRPr lang="en-US" noProof="0" dirty="0"/>
          </a:p>
        </p:txBody>
      </p:sp>
      <p:sp>
        <p:nvSpPr>
          <p:cNvPr id="4" name="Titel 3"/>
          <p:cNvSpPr>
            <a:spLocks noGrp="1"/>
          </p:cNvSpPr>
          <p:nvPr>
            <p:ph type="title"/>
          </p:nvPr>
        </p:nvSpPr>
        <p:spPr>
          <a:xfrm>
            <a:off x="488950" y="451575"/>
            <a:ext cx="8941740" cy="723600"/>
          </a:xfrm>
        </p:spPr>
        <p:txBody>
          <a:bodyPr/>
          <a:lstStyle/>
          <a:p>
            <a:r>
              <a:rPr lang="en-US" noProof="0" dirty="0"/>
              <a:t>4. Are the planned investments consistent with the </a:t>
            </a:r>
            <a:r>
              <a:rPr lang="en-US" noProof="0" dirty="0" smtClean="0"/>
              <a:t>market expectations </a:t>
            </a:r>
            <a:r>
              <a:rPr lang="en-US" noProof="0" dirty="0"/>
              <a:t>and sector parameters?</a:t>
            </a:r>
          </a:p>
        </p:txBody>
      </p:sp>
      <p:sp>
        <p:nvSpPr>
          <p:cNvPr id="3" name="Textplatzhalter 2"/>
          <p:cNvSpPr>
            <a:spLocks noGrp="1"/>
          </p:cNvSpPr>
          <p:nvPr>
            <p:ph type="body" sz="quarter" idx="13"/>
          </p:nvPr>
        </p:nvSpPr>
        <p:spPr/>
        <p:txBody>
          <a:bodyPr/>
          <a:lstStyle/>
          <a:p>
            <a:r>
              <a:rPr lang="en-US" noProof="0" dirty="0"/>
              <a:t>Investment (Planning) </a:t>
            </a:r>
          </a:p>
        </p:txBody>
      </p:sp>
      <p:graphicFrame>
        <p:nvGraphicFramePr>
          <p:cNvPr id="39" name="Group 90"/>
          <p:cNvGraphicFramePr>
            <a:graphicFrameLocks noGrp="1"/>
          </p:cNvGraphicFramePr>
          <p:nvPr>
            <p:custDataLst>
              <p:tags r:id="rId2"/>
            </p:custDataLs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1"/>
          <a:stretch>
            <a:fillRect/>
          </a:stretch>
        </p:blipFill>
        <p:spPr>
          <a:xfrm>
            <a:off x="8215238" y="5701816"/>
            <a:ext cx="340197" cy="405178"/>
          </a:xfrm>
          <a:prstGeom prst="rect">
            <a:avLst/>
          </a:prstGeom>
        </p:spPr>
      </p:pic>
      <p:pic>
        <p:nvPicPr>
          <p:cNvPr id="20" name="Grafik 19"/>
          <p:cNvPicPr>
            <a:picLocks noChangeAspect="1"/>
          </p:cNvPicPr>
          <p:nvPr/>
        </p:nvPicPr>
        <p:blipFill>
          <a:blip r:embed="rId12"/>
          <a:stretch>
            <a:fillRect/>
          </a:stretch>
        </p:blipFill>
        <p:spPr>
          <a:xfrm>
            <a:off x="8504146" y="5701816"/>
            <a:ext cx="340197" cy="405178"/>
          </a:xfrm>
          <a:prstGeom prst="rect">
            <a:avLst/>
          </a:prstGeom>
        </p:spPr>
      </p:pic>
      <p:pic>
        <p:nvPicPr>
          <p:cNvPr id="21" name="Grafik 20"/>
          <p:cNvPicPr>
            <a:picLocks noChangeAspect="1"/>
          </p:cNvPicPr>
          <p:nvPr/>
        </p:nvPicPr>
        <p:blipFill>
          <a:blip r:embed="rId13"/>
          <a:stretch>
            <a:fillRect/>
          </a:stretch>
        </p:blipFill>
        <p:spPr>
          <a:xfrm>
            <a:off x="8793054" y="5701816"/>
            <a:ext cx="340197" cy="405178"/>
          </a:xfrm>
          <a:prstGeom prst="rect">
            <a:avLst/>
          </a:prstGeom>
        </p:spPr>
      </p:pic>
      <p:pic>
        <p:nvPicPr>
          <p:cNvPr id="22" name="Grafik 21"/>
          <p:cNvPicPr>
            <a:picLocks noChangeAspect="1"/>
          </p:cNvPicPr>
          <p:nvPr/>
        </p:nvPicPr>
        <p:blipFill>
          <a:blip r:embed="rId14">
            <a:duotone>
              <a:schemeClr val="bg2">
                <a:shade val="45000"/>
                <a:satMod val="135000"/>
              </a:schemeClr>
              <a:prstClr val="white"/>
            </a:duotone>
          </a:blip>
          <a:stretch>
            <a:fillRect/>
          </a:stretch>
        </p:blipFill>
        <p:spPr>
          <a:xfrm>
            <a:off x="9081962"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io in comparison to peer group</a:t>
            </a:r>
          </a:p>
        </p:txBody>
      </p:sp>
      <p:sp>
        <p:nvSpPr>
          <p:cNvPr id="23" name="Text Placeholder 12"/>
          <p:cNvSpPr txBox="1">
            <a:spLocks/>
          </p:cNvSpPr>
          <p:nvPr>
            <p:custDataLst>
              <p:tags r:id="rId4"/>
            </p:custDataLst>
          </p:nvPr>
        </p:nvSpPr>
        <p:spPr>
          <a:xfrm>
            <a:off x="2447922" y="3797676"/>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 ratio in comparison to analysts’ expectations</a:t>
            </a:r>
          </a:p>
        </p:txBody>
      </p:sp>
      <p:pic>
        <p:nvPicPr>
          <p:cNvPr id="7" name="Grafik 6"/>
          <p:cNvPicPr>
            <a:picLocks noChangeAspect="1"/>
          </p:cNvPicPr>
          <p:nvPr>
            <p:custDataLst>
              <p:tags r:id="rId5"/>
            </p:custDataLst>
          </p:nvPr>
        </p:nvPicPr>
        <p:blipFill rotWithShape="1">
          <a:blip r:embed="rId15"/>
          <a:srcRect l="2984" t="3720" r="26253" b="17993"/>
          <a:stretch/>
        </p:blipFill>
        <p:spPr>
          <a:xfrm>
            <a:off x="2420305" y="1650770"/>
            <a:ext cx="3424868" cy="2073505"/>
          </a:xfrm>
          <a:prstGeom prst="rect">
            <a:avLst/>
          </a:prstGeom>
        </p:spPr>
      </p:pic>
      <p:pic>
        <p:nvPicPr>
          <p:cNvPr id="11" name="Grafik 10"/>
          <p:cNvPicPr>
            <a:picLocks noChangeAspect="1"/>
          </p:cNvPicPr>
          <p:nvPr>
            <p:custDataLst>
              <p:tags r:id="rId6"/>
            </p:custDataLst>
          </p:nvPr>
        </p:nvPicPr>
        <p:blipFill rotWithShape="1">
          <a:blip r:embed="rId16"/>
          <a:srcRect l="2712" t="8946" r="19909" b="18147"/>
          <a:stretch/>
        </p:blipFill>
        <p:spPr>
          <a:xfrm>
            <a:off x="2419349" y="4048125"/>
            <a:ext cx="3429001" cy="1962150"/>
          </a:xfrm>
          <a:prstGeom prst="rect">
            <a:avLst/>
          </a:prstGeom>
        </p:spPr>
      </p:pic>
      <p:pic>
        <p:nvPicPr>
          <p:cNvPr id="8" name="Grafik 7"/>
          <p:cNvPicPr>
            <a:picLocks noChangeAspect="1"/>
          </p:cNvPicPr>
          <p:nvPr>
            <p:custDataLst>
              <p:tags r:id="rId7"/>
            </p:custDataLst>
          </p:nvPr>
        </p:nvPicPr>
        <p:blipFill>
          <a:blip r:embed="rId17"/>
          <a:stretch>
            <a:fillRect/>
          </a:stretch>
        </p:blipFill>
        <p:spPr>
          <a:xfrm>
            <a:off x="-2599421" y="1422400"/>
            <a:ext cx="1999661" cy="2225233"/>
          </a:xfrm>
          <a:prstGeom prst="rect">
            <a:avLst/>
          </a:prstGeom>
        </p:spPr>
      </p:pic>
      <p:pic>
        <p:nvPicPr>
          <p:cNvPr id="12" name="Grafik 11"/>
          <p:cNvPicPr>
            <a:picLocks noChangeAspect="1"/>
          </p:cNvPicPr>
          <p:nvPr>
            <p:custDataLst>
              <p:tags r:id="rId8"/>
            </p:custDataLst>
          </p:nvPr>
        </p:nvPicPr>
        <p:blipFill>
          <a:blip r:embed="rId18"/>
          <a:stretch>
            <a:fillRect/>
          </a:stretch>
        </p:blipFill>
        <p:spPr>
          <a:xfrm>
            <a:off x="-2599421" y="3887858"/>
            <a:ext cx="1999661" cy="2219136"/>
          </a:xfrm>
          <a:prstGeom prst="rect">
            <a:avLst/>
          </a:prstGeom>
        </p:spPr>
      </p:pic>
      <p:graphicFrame>
        <p:nvGraphicFramePr>
          <p:cNvPr id="24" name="Objekt 23"/>
          <p:cNvGraphicFramePr>
            <a:graphicFrameLocks noChangeAspect="1"/>
          </p:cNvGraphicFramePr>
          <p:nvPr>
            <p:extLst>
              <p:ext uri="{D42A27DB-BD31-4B8C-83A1-F6EECF244321}">
                <p14:modId xmlns:p14="http://schemas.microsoft.com/office/powerpoint/2010/main" val="2969469269"/>
              </p:ext>
            </p:extLst>
          </p:nvPr>
        </p:nvGraphicFramePr>
        <p:xfrm>
          <a:off x="-1449901" y="6195031"/>
          <a:ext cx="914400" cy="771525"/>
        </p:xfrm>
        <a:graphic>
          <a:graphicData uri="http://schemas.openxmlformats.org/presentationml/2006/ole">
            <mc:AlternateContent xmlns:mc="http://schemas.openxmlformats.org/markup-compatibility/2006">
              <mc:Choice xmlns:v="urn:schemas-microsoft-com:vml" Requires="v">
                <p:oleObj spid="_x0000_s22568" name="Arbeitsblatt" showAsIcon="1" r:id="rId19" imgW="914400" imgH="771480" progId="Excel.Sheet.12">
                  <p:embed/>
                </p:oleObj>
              </mc:Choice>
              <mc:Fallback>
                <p:oleObj name="Arbeitsblatt" showAsIcon="1" r:id="rId19" imgW="914400" imgH="771480" progId="Excel.Sheet.12">
                  <p:embed/>
                  <p:pic>
                    <p:nvPicPr>
                      <p:cNvPr id="0" name=""/>
                      <p:cNvPicPr/>
                      <p:nvPr/>
                    </p:nvPicPr>
                    <p:blipFill>
                      <a:blip r:embed="rId20"/>
                      <a:stretch>
                        <a:fillRect/>
                      </a:stretch>
                    </p:blipFill>
                    <p:spPr>
                      <a:xfrm>
                        <a:off x="-1449901" y="619503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0913631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en-US" dirty="0"/>
          </a:p>
        </p:txBody>
      </p:sp>
      <p:sp>
        <p:nvSpPr>
          <p:cNvPr id="14" name="Textplatzhalter 13"/>
          <p:cNvSpPr>
            <a:spLocks noGrp="1"/>
          </p:cNvSpPr>
          <p:nvPr>
            <p:ph type="body" sz="quarter" idx="29"/>
          </p:nvPr>
        </p:nvSpPr>
        <p:spPr/>
        <p:txBody>
          <a:bodyPr/>
          <a:lstStyle/>
          <a:p>
            <a:endParaRPr lang="en-US" dirty="0"/>
          </a:p>
        </p:txBody>
      </p:sp>
      <p:sp>
        <p:nvSpPr>
          <p:cNvPr id="13" name="Textplatzhalter 12"/>
          <p:cNvSpPr>
            <a:spLocks noGrp="1"/>
          </p:cNvSpPr>
          <p:nvPr>
            <p:ph type="body" sz="quarter" idx="28"/>
          </p:nvPr>
        </p:nvSpPr>
        <p:spPr/>
        <p:txBody>
          <a:bodyPr/>
          <a:lstStyle/>
          <a:p>
            <a:endParaRPr lang="en-US" dirty="0"/>
          </a:p>
        </p:txBody>
      </p:sp>
      <p:sp>
        <p:nvSpPr>
          <p:cNvPr id="29" name="Text Placeholder 28"/>
          <p:cNvSpPr>
            <a:spLocks noGrp="1"/>
          </p:cNvSpPr>
          <p:nvPr>
            <p:ph type="body" sz="quarter" idx="13"/>
            <p:custDataLst>
              <p:tags r:id="rId1"/>
            </p:custDataLst>
          </p:nvPr>
        </p:nvSpPr>
        <p:spPr/>
        <p:txBody>
          <a:bodyPr/>
          <a:lstStyle/>
          <a:p>
            <a:pPr lvl="0"/>
            <a:r>
              <a:rPr lang="en-US" smtClean="0"/>
              <a:t>© 2017 KPMG International Cooperative (“KPMG International”). KPMG International provides no client services and is a Swiss entity with which the independent member firms of the KPMG network are affiliated.</a:t>
            </a:r>
            <a:endParaRPr lang="en-US" dirty="0"/>
          </a:p>
        </p:txBody>
      </p:sp>
    </p:spTree>
    <p:extLst>
      <p:ext uri="{BB962C8B-B14F-4D97-AF65-F5344CB8AC3E}">
        <p14:creationId xmlns:p14="http://schemas.microsoft.com/office/powerpoint/2010/main" val="28668308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488950" y="1422400"/>
            <a:ext cx="8928100" cy="694800"/>
          </a:xfrm>
          <a:solidFill>
            <a:srgbClr val="BC204B"/>
          </a:solidFill>
        </p:spPr>
        <p:txBody>
          <a:bodyPr wrap="square" lIns="53975" tIns="53975" rIns="53975" bIns="53975">
            <a:noAutofit/>
          </a:bodyPr>
          <a:lstStyle/>
          <a:p>
            <a:r>
              <a:rPr lang="en-US" sz="1200" dirty="0">
                <a:solidFill>
                  <a:schemeClr val="bg1"/>
                </a:solidFill>
              </a:rPr>
              <a:t>The content of this workbook has been produced by KPMG Germany/Deal Advisory on the basis of German accounting standards and/or IFRS, as well as considering KPMG Germany’s firm and country requirements, regulations, processes, policies and best practices. Please check your local accounting and other requirements before applying the content.</a:t>
            </a:r>
          </a:p>
        </p:txBody>
      </p:sp>
      <p:sp>
        <p:nvSpPr>
          <p:cNvPr id="5" name="Textplatzhalter 4"/>
          <p:cNvSpPr>
            <a:spLocks noGrp="1"/>
          </p:cNvSpPr>
          <p:nvPr>
            <p:ph type="body" sz="quarter" idx="11"/>
          </p:nvPr>
        </p:nvSpPr>
        <p:spPr/>
        <p:txBody>
          <a:bodyPr/>
          <a:lstStyle/>
          <a:p>
            <a:endParaRPr lang="en-US" dirty="0"/>
          </a:p>
        </p:txBody>
      </p:sp>
      <p:sp>
        <p:nvSpPr>
          <p:cNvPr id="4" name="Titel 3"/>
          <p:cNvSpPr>
            <a:spLocks noGrp="1"/>
          </p:cNvSpPr>
          <p:nvPr>
            <p:ph type="title"/>
          </p:nvPr>
        </p:nvSpPr>
        <p:spPr/>
        <p:txBody>
          <a:bodyPr/>
          <a:lstStyle/>
          <a:p>
            <a:r>
              <a:rPr lang="en-US" noProof="0" dirty="0" smtClean="0"/>
              <a:t>Disclaimer</a:t>
            </a:r>
            <a:endParaRPr lang="en-US" sz="3600" noProof="0" dirty="0"/>
          </a:p>
        </p:txBody>
      </p:sp>
    </p:spTree>
    <p:extLst>
      <p:ext uri="{BB962C8B-B14F-4D97-AF65-F5344CB8AC3E}">
        <p14:creationId xmlns:p14="http://schemas.microsoft.com/office/powerpoint/2010/main" val="33986270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vestment (Planning</a:t>
            </a:r>
            <a:r>
              <a:rPr lang="en-US" dirty="0"/>
              <a:t>) </a:t>
            </a:r>
          </a:p>
        </p:txBody>
      </p:sp>
      <p:sp>
        <p:nvSpPr>
          <p:cNvPr id="4" name="Titel 3"/>
          <p:cNvSpPr>
            <a:spLocks noGrp="1"/>
          </p:cNvSpPr>
          <p:nvPr>
            <p:ph type="title"/>
          </p:nvPr>
        </p:nvSpPr>
        <p:spPr/>
        <p:txBody>
          <a:bodyPr/>
          <a:lstStyle/>
          <a:p>
            <a:r>
              <a:rPr lang="en-US" dirty="0" smtClean="0"/>
              <a:t>Overview (1/4) – Mission statement</a:t>
            </a:r>
            <a:endParaRPr lang="en-US" dirty="0"/>
          </a:p>
        </p:txBody>
      </p:sp>
      <p:grpSp>
        <p:nvGrpSpPr>
          <p:cNvPr id="9" name="Gruppieren 8"/>
          <p:cNvGrpSpPr/>
          <p:nvPr/>
        </p:nvGrpSpPr>
        <p:grpSpPr>
          <a:xfrm>
            <a:off x="488950" y="1422400"/>
            <a:ext cx="8928100" cy="398648"/>
            <a:chOff x="272480" y="1196752"/>
            <a:chExt cx="9360470" cy="432048"/>
          </a:xfrm>
        </p:grpSpPr>
        <p:sp>
          <p:nvSpPr>
            <p:cNvPr id="7" name="Textfeld 23"/>
            <p:cNvSpPr txBox="1"/>
            <p:nvPr/>
          </p:nvSpPr>
          <p:spPr>
            <a:xfrm>
              <a:off x="272480" y="1196752"/>
              <a:ext cx="1460045" cy="432048"/>
            </a:xfrm>
            <a:prstGeom prst="rect">
              <a:avLst/>
            </a:prstGeom>
            <a:solidFill>
              <a:schemeClr val="accent1"/>
            </a:solidFill>
            <a:ln w="6350">
              <a:noFill/>
            </a:ln>
          </p:spPr>
          <p:txBody>
            <a:bodyPr wrap="none" lIns="54000" tIns="54000" rIns="54000" bIns="54000" rtlCol="0" anchor="t">
              <a:noAutofit/>
            </a:bodyPr>
            <a:lstStyle/>
            <a:p>
              <a:pPr marL="1611313" lvl="0" indent="-1611313" defTabSz="762000">
                <a:lnSpc>
                  <a:spcPct val="95000"/>
                </a:lnSpc>
                <a:spcBef>
                  <a:spcPct val="60000"/>
                </a:spcBef>
                <a:buClr>
                  <a:srgbClr val="000066"/>
                </a:buClr>
              </a:pPr>
              <a:r>
                <a:rPr lang="en-US" sz="1600" b="1" dirty="0" smtClean="0">
                  <a:solidFill>
                    <a:schemeClr val="bg1"/>
                  </a:solidFill>
                  <a:latin typeface="KPMG Light" panose="020B0403030202040204" pitchFamily="34" charset="0"/>
                </a:rPr>
                <a:t>Mission Statement:</a:t>
              </a:r>
              <a:endParaRPr lang="en-US" sz="1200" i="1" dirty="0" smtClean="0">
                <a:solidFill>
                  <a:schemeClr val="bg1"/>
                </a:solidFill>
                <a:latin typeface="KPMG Light" panose="020B0403030202040204" pitchFamily="34" charset="0"/>
                <a:cs typeface="Arial" pitchFamily="34" charset="0"/>
              </a:endParaRPr>
            </a:p>
          </p:txBody>
        </p:sp>
        <p:sp>
          <p:nvSpPr>
            <p:cNvPr id="8" name="Textfeld 23"/>
            <p:cNvSpPr txBox="1"/>
            <p:nvPr/>
          </p:nvSpPr>
          <p:spPr>
            <a:xfrm>
              <a:off x="1732525" y="1196752"/>
              <a:ext cx="7900425" cy="432048"/>
            </a:xfrm>
            <a:prstGeom prst="rect">
              <a:avLst/>
            </a:prstGeom>
            <a:solidFill>
              <a:schemeClr val="accent3"/>
            </a:solidFill>
            <a:ln w="6350">
              <a:noFill/>
            </a:ln>
          </p:spPr>
          <p:txBody>
            <a:bodyPr wrap="square" lIns="54000" tIns="54000" rIns="54000" bIns="54000" rtlCol="0" anchor="ctr">
              <a:noAutofit/>
            </a:bodyPr>
            <a:lstStyle/>
            <a:p>
              <a:pPr lvl="0" defTabSz="762000">
                <a:lnSpc>
                  <a:spcPct val="95000"/>
                </a:lnSpc>
                <a:spcBef>
                  <a:spcPts val="300"/>
                </a:spcBef>
                <a:buClr>
                  <a:srgbClr val="000066"/>
                </a:buClr>
              </a:pPr>
              <a:r>
                <a:rPr lang="en-US" sz="900" b="1" dirty="0" smtClean="0">
                  <a:solidFill>
                    <a:schemeClr val="bg1"/>
                  </a:solidFill>
                </a:rPr>
                <a:t>Transparency about the future capital structure, security of financing and market conformity of the financing for the proper consideration in transactions/valuations</a:t>
              </a:r>
              <a:endParaRPr lang="en-US" sz="900" b="1" dirty="0">
                <a:solidFill>
                  <a:schemeClr val="bg1"/>
                </a:solidFill>
              </a:endParaRPr>
            </a:p>
          </p:txBody>
        </p:sp>
      </p:grpSp>
      <p:sp>
        <p:nvSpPr>
          <p:cNvPr id="26" name="Text Placeholder 5"/>
          <p:cNvSpPr>
            <a:spLocks noGrp="1"/>
          </p:cNvSpPr>
          <p:nvPr>
            <p:ph type="body" sz="quarter" idx="11"/>
          </p:nvPr>
        </p:nvSpPr>
        <p:spPr>
          <a:xfrm>
            <a:off x="498098" y="2153260"/>
            <a:ext cx="1737759" cy="2086159"/>
          </a:xfrm>
          <a:ln w="6350">
            <a:noFill/>
          </a:ln>
        </p:spPr>
        <p:txBody>
          <a:bodyPr vert="horz" lIns="0" tIns="0" rIns="0" bIns="0" rtlCol="0" anchor="t" anchorCtr="0">
            <a:noAutofit/>
          </a:bodyPr>
          <a:lstStyle/>
          <a:p>
            <a:pPr>
              <a:spcAft>
                <a:spcPts val="500"/>
              </a:spcAft>
            </a:pPr>
            <a:r>
              <a:rPr lang="en-US" sz="900" dirty="0" smtClean="0">
                <a:solidFill>
                  <a:schemeClr val="accent1"/>
                </a:solidFill>
              </a:rPr>
              <a:t>Buy Side/Sell Side/JV</a:t>
            </a:r>
          </a:p>
          <a:p>
            <a:pPr lvl="2">
              <a:spcAft>
                <a:spcPts val="500"/>
              </a:spcAft>
            </a:pPr>
            <a:r>
              <a:rPr lang="en-US" dirty="0" smtClean="0"/>
              <a:t>Drivers for valuation and, if necessary, purchase price approval (e.g. determination/calculation of investment need)</a:t>
            </a:r>
          </a:p>
          <a:p>
            <a:pPr>
              <a:spcAft>
                <a:spcPts val="500"/>
              </a:spcAft>
            </a:pPr>
            <a:r>
              <a:rPr lang="en-US" sz="900" dirty="0" smtClean="0">
                <a:solidFill>
                  <a:schemeClr val="accent1"/>
                </a:solidFill>
              </a:rPr>
              <a:t>Corporate Health</a:t>
            </a:r>
          </a:p>
          <a:p>
            <a:pPr lvl="2">
              <a:spcAft>
                <a:spcPts val="500"/>
              </a:spcAft>
            </a:pPr>
            <a:r>
              <a:rPr lang="en-US" dirty="0"/>
              <a:t>Significant influence factor for the short and mid-term liquidity (frequently limitation of the investment budget)</a:t>
            </a:r>
          </a:p>
        </p:txBody>
      </p:sp>
      <p:sp>
        <p:nvSpPr>
          <p:cNvPr id="28" name="Rechteck 18"/>
          <p:cNvSpPr/>
          <p:nvPr/>
        </p:nvSpPr>
        <p:spPr>
          <a:xfrm>
            <a:off x="2453055" y="1875810"/>
            <a:ext cx="69639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finition/Methodology/Tools of the basis analysis</a:t>
            </a:r>
            <a:endParaRPr lang="en-US" sz="900" b="1" dirty="0"/>
          </a:p>
        </p:txBody>
      </p:sp>
      <p:sp>
        <p:nvSpPr>
          <p:cNvPr id="29" name="Rechteck 18"/>
          <p:cNvSpPr>
            <a:spLocks/>
          </p:cNvSpPr>
          <p:nvPr/>
        </p:nvSpPr>
        <p:spPr>
          <a:xfrm>
            <a:off x="488950" y="1875810"/>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Customer situation</a:t>
            </a:r>
            <a:endParaRPr lang="en-US" sz="900" b="1" dirty="0"/>
          </a:p>
        </p:txBody>
      </p:sp>
      <p:sp>
        <p:nvSpPr>
          <p:cNvPr id="31" name="Rechteck 18"/>
          <p:cNvSpPr>
            <a:spLocks/>
          </p:cNvSpPr>
          <p:nvPr/>
        </p:nvSpPr>
        <p:spPr>
          <a:xfrm>
            <a:off x="498097" y="4606982"/>
            <a:ext cx="1744296"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Degree of standardization</a:t>
            </a:r>
            <a:endParaRPr lang="en-US" sz="900" b="1" dirty="0"/>
          </a:p>
        </p:txBody>
      </p:sp>
      <p:sp>
        <p:nvSpPr>
          <p:cNvPr id="32" name="Text Placeholder 5"/>
          <p:cNvSpPr>
            <a:spLocks noGrp="1"/>
          </p:cNvSpPr>
          <p:nvPr>
            <p:ph type="body" sz="quarter" idx="11"/>
          </p:nvPr>
        </p:nvSpPr>
        <p:spPr>
          <a:xfrm>
            <a:off x="488950" y="4913744"/>
            <a:ext cx="1737759" cy="1107643"/>
          </a:xfrm>
          <a:ln w="6350">
            <a:noFill/>
          </a:ln>
        </p:spPr>
        <p:txBody>
          <a:bodyPr vert="horz" lIns="0" tIns="0" rIns="0" bIns="0" rtlCol="0" anchor="t" anchorCtr="0">
            <a:noAutofit/>
          </a:bodyPr>
          <a:lstStyle/>
          <a:p>
            <a:pPr lvl="2">
              <a:spcAft>
                <a:spcPts val="500"/>
              </a:spcAft>
            </a:pPr>
            <a:r>
              <a:rPr lang="en-US" dirty="0"/>
              <a:t>Toolbox</a:t>
            </a:r>
          </a:p>
          <a:p>
            <a:pPr lvl="2">
              <a:spcAft>
                <a:spcPts val="500"/>
              </a:spcAft>
            </a:pPr>
            <a:r>
              <a:rPr lang="en-US" dirty="0"/>
              <a:t>Determination and collection of sector-specific KPIs (Benchmarking </a:t>
            </a:r>
            <a:r>
              <a:rPr lang="en-US" dirty="0" smtClean="0"/>
              <a:t>Plus)</a:t>
            </a:r>
            <a:endParaRPr lang="en-US" dirty="0"/>
          </a:p>
        </p:txBody>
      </p:sp>
      <p:sp>
        <p:nvSpPr>
          <p:cNvPr id="13" name="Text Placeholder 5"/>
          <p:cNvSpPr>
            <a:spLocks noGrp="1"/>
          </p:cNvSpPr>
          <p:nvPr>
            <p:ph type="body" sz="quarter" idx="11"/>
          </p:nvPr>
        </p:nvSpPr>
        <p:spPr>
          <a:xfrm>
            <a:off x="5861859" y="2153260"/>
            <a:ext cx="3555191" cy="3868127"/>
          </a:xfrm>
          <a:ln w="6350">
            <a:noFill/>
          </a:ln>
        </p:spPr>
        <p:txBody>
          <a:bodyPr vert="horz" lIns="0" tIns="0" rIns="0" bIns="0" numCol="1" spcCol="0" rtlCol="0" anchor="t" anchorCtr="0">
            <a:noAutofit/>
          </a:bodyPr>
          <a:lstStyle/>
          <a:p>
            <a:pPr>
              <a:spcBef>
                <a:spcPts val="600"/>
              </a:spcBef>
            </a:pPr>
            <a:r>
              <a:rPr lang="en-US" sz="900" dirty="0" smtClean="0"/>
              <a:t>Definition and Methodology</a:t>
            </a:r>
          </a:p>
          <a:p>
            <a:pPr lvl="2">
              <a:spcBef>
                <a:spcPts val="600"/>
              </a:spcBef>
              <a:spcAft>
                <a:spcPts val="0"/>
              </a:spcAft>
              <a:defRPr/>
            </a:pPr>
            <a:r>
              <a:rPr lang="en-US" dirty="0"/>
              <a:t>Discussions with planning </a:t>
            </a:r>
            <a:r>
              <a:rPr lang="en-US" dirty="0" smtClean="0"/>
              <a:t>responsible</a:t>
            </a:r>
            <a:endParaRPr lang="en-US" dirty="0"/>
          </a:p>
          <a:p>
            <a:pPr lvl="2">
              <a:spcBef>
                <a:spcPts val="600"/>
              </a:spcBef>
              <a:spcAft>
                <a:spcPts val="0"/>
              </a:spcAft>
              <a:defRPr/>
            </a:pPr>
            <a:r>
              <a:rPr lang="en-US" dirty="0"/>
              <a:t>Obligatory linking of the knowledge from the past analysis and the market and competitive analysis with the planning analysis</a:t>
            </a:r>
          </a:p>
          <a:p>
            <a:pPr lvl="2">
              <a:spcBef>
                <a:spcPts val="600"/>
              </a:spcBef>
              <a:spcAft>
                <a:spcPts val="0"/>
              </a:spcAft>
              <a:defRPr/>
            </a:pPr>
            <a:r>
              <a:rPr lang="en-US" dirty="0"/>
              <a:t>Connection of the investment analysis with sales, maintenance expenses, balance sheet and depreciation analysis</a:t>
            </a:r>
          </a:p>
          <a:p>
            <a:pPr lvl="2">
              <a:spcBef>
                <a:spcPts val="600"/>
              </a:spcBef>
              <a:spcAft>
                <a:spcPts val="0"/>
              </a:spcAft>
              <a:defRPr/>
            </a:pPr>
            <a:r>
              <a:rPr lang="en-US" dirty="0"/>
              <a:t>Analysis and/or presentation at selected levels (e.g. group, legal entity, segment, profit </a:t>
            </a:r>
            <a:r>
              <a:rPr lang="en-US" dirty="0" smtClean="0"/>
              <a:t>center, </a:t>
            </a:r>
            <a:r>
              <a:rPr lang="en-US" dirty="0"/>
              <a:t>product group, region, etc.) in accordance with the necessity, appropriateness and data situation in the specific </a:t>
            </a:r>
            <a:r>
              <a:rPr lang="en-US" dirty="0" smtClean="0"/>
              <a:t>case</a:t>
            </a:r>
          </a:p>
          <a:p>
            <a:pPr lvl="2">
              <a:spcBef>
                <a:spcPts val="600"/>
              </a:spcBef>
              <a:spcAft>
                <a:spcPts val="0"/>
              </a:spcAft>
              <a:defRPr/>
            </a:pPr>
            <a:r>
              <a:rPr lang="en-US" dirty="0" smtClean="0"/>
              <a:t>Involvement </a:t>
            </a:r>
            <a:r>
              <a:rPr lang="en-US" dirty="0"/>
              <a:t>of the client’s technical team or the technical consultant</a:t>
            </a:r>
          </a:p>
          <a:p>
            <a:pPr marL="0" lvl="2" indent="0">
              <a:spcBef>
                <a:spcPts val="600"/>
              </a:spcBef>
              <a:spcAft>
                <a:spcPts val="0"/>
              </a:spcAft>
              <a:buNone/>
              <a:defRPr/>
            </a:pPr>
            <a:r>
              <a:rPr lang="en-US" b="1" dirty="0" smtClean="0">
                <a:solidFill>
                  <a:schemeClr val="tx2"/>
                </a:solidFill>
              </a:rPr>
              <a:t>Tools</a:t>
            </a:r>
            <a:endParaRPr lang="en-US" b="1" dirty="0">
              <a:solidFill>
                <a:schemeClr val="tx2"/>
              </a:solidFill>
            </a:endParaRPr>
          </a:p>
          <a:p>
            <a:pPr lvl="2">
              <a:spcBef>
                <a:spcPts val="600"/>
              </a:spcBef>
              <a:spcAft>
                <a:spcPts val="0"/>
              </a:spcAft>
              <a:defRPr/>
            </a:pPr>
            <a:r>
              <a:rPr lang="en-US" dirty="0"/>
              <a:t>Analysis </a:t>
            </a:r>
            <a:r>
              <a:rPr lang="en-US" dirty="0" smtClean="0"/>
              <a:t>Toolbox (e.g. </a:t>
            </a:r>
            <a:r>
              <a:rPr lang="en-US" dirty="0" err="1" smtClean="0"/>
              <a:t>KOut</a:t>
            </a:r>
            <a:r>
              <a:rPr lang="en-US" dirty="0" smtClean="0"/>
              <a:t>, </a:t>
            </a:r>
            <a:r>
              <a:rPr lang="en-US" dirty="0" err="1" smtClean="0"/>
              <a:t>KPlan</a:t>
            </a:r>
            <a:r>
              <a:rPr lang="en-US" dirty="0" smtClean="0"/>
              <a:t>, </a:t>
            </a:r>
            <a:r>
              <a:rPr lang="en-US" dirty="0" err="1" smtClean="0"/>
              <a:t>KValue</a:t>
            </a:r>
            <a:r>
              <a:rPr lang="en-US" dirty="0" smtClean="0"/>
              <a:t>) </a:t>
            </a:r>
            <a:endParaRPr lang="en-US" dirty="0"/>
          </a:p>
          <a:p>
            <a:pPr lvl="2">
              <a:spcBef>
                <a:spcPts val="600"/>
              </a:spcBef>
              <a:spcAft>
                <a:spcPts val="0"/>
              </a:spcAft>
              <a:defRPr/>
            </a:pPr>
            <a:r>
              <a:rPr lang="en-US" dirty="0"/>
              <a:t>K-Reinvest for derivation of the sustainable reinvestment ratio </a:t>
            </a:r>
            <a:br>
              <a:rPr lang="en-US" dirty="0"/>
            </a:br>
            <a:r>
              <a:rPr lang="en-US" dirty="0"/>
              <a:t>(for valuation purposes; see Sustainable </a:t>
            </a:r>
            <a:r>
              <a:rPr lang="en-US" dirty="0" smtClean="0"/>
              <a:t>Result (income)/ Terminal </a:t>
            </a:r>
            <a:r>
              <a:rPr lang="en-US" dirty="0"/>
              <a:t>Value </a:t>
            </a:r>
            <a:r>
              <a:rPr lang="en-US" dirty="0" smtClean="0"/>
              <a:t>workbook)</a:t>
            </a:r>
            <a:br>
              <a:rPr lang="en-US" dirty="0" smtClean="0"/>
            </a:br>
            <a:endParaRPr lang="en-US" i="1" dirty="0" smtClean="0"/>
          </a:p>
        </p:txBody>
      </p:sp>
      <p:sp>
        <p:nvSpPr>
          <p:cNvPr id="46" name="Text Placeholder 12"/>
          <p:cNvSpPr txBox="1">
            <a:spLocks/>
          </p:cNvSpPr>
          <p:nvPr>
            <p:custDataLst>
              <p:tags r:id="rId2"/>
            </p:custDataLst>
          </p:nvPr>
        </p:nvSpPr>
        <p:spPr>
          <a:xfrm>
            <a:off x="2453056" y="215326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Depreciation and investments over time</a:t>
            </a:r>
            <a:endParaRPr lang="en-US" sz="900" kern="0" dirty="0">
              <a:latin typeface="Arial" panose="020B0604020202020204" pitchFamily="34" charset="0"/>
              <a:cs typeface="Arial" panose="020B0604020202020204" pitchFamily="34" charset="0"/>
            </a:endParaRPr>
          </a:p>
        </p:txBody>
      </p:sp>
      <p:sp>
        <p:nvSpPr>
          <p:cNvPr id="47" name="Text Placeholder 12"/>
          <p:cNvSpPr txBox="1">
            <a:spLocks/>
          </p:cNvSpPr>
          <p:nvPr>
            <p:custDataLst>
              <p:tags r:id="rId3"/>
            </p:custDataLst>
          </p:nvPr>
        </p:nvSpPr>
        <p:spPr>
          <a:xfrm>
            <a:off x="2453056" y="4149210"/>
            <a:ext cx="2577955" cy="227990"/>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pPr defTabSz="914400"/>
            <a:r>
              <a:rPr lang="en-US" sz="900" kern="0" dirty="0" smtClean="0">
                <a:latin typeface="Arial" panose="020B0604020202020204" pitchFamily="34" charset="0"/>
                <a:cs typeface="Arial" panose="020B0604020202020204" pitchFamily="34" charset="0"/>
              </a:rPr>
              <a:t>Investment rate in comparison to peers</a:t>
            </a:r>
            <a:endParaRPr lang="en-US" sz="900" kern="0" dirty="0">
              <a:latin typeface="Arial" panose="020B0604020202020204" pitchFamily="34" charset="0"/>
              <a:cs typeface="Arial" panose="020B0604020202020204" pitchFamily="34" charset="0"/>
            </a:endParaRPr>
          </a:p>
        </p:txBody>
      </p:sp>
      <p:pic>
        <p:nvPicPr>
          <p:cNvPr id="33" name="Grafik 32"/>
          <p:cNvPicPr>
            <a:picLocks noChangeAspect="1"/>
          </p:cNvPicPr>
          <p:nvPr>
            <p:custDataLst>
              <p:tags r:id="rId4"/>
            </p:custDataLst>
          </p:nvPr>
        </p:nvPicPr>
        <p:blipFill rotWithShape="1">
          <a:blip r:embed="rId11"/>
          <a:srcRect l="2524" t="12315" r="25368" b="16802"/>
          <a:stretch/>
        </p:blipFill>
        <p:spPr>
          <a:xfrm>
            <a:off x="2400300" y="4319615"/>
            <a:ext cx="3493287" cy="1936864"/>
          </a:xfrm>
          <a:prstGeom prst="rect">
            <a:avLst/>
          </a:prstGeom>
        </p:spPr>
      </p:pic>
      <p:pic>
        <p:nvPicPr>
          <p:cNvPr id="14" name="Grafik 13"/>
          <p:cNvPicPr>
            <a:picLocks noChangeAspect="1"/>
          </p:cNvPicPr>
          <p:nvPr>
            <p:custDataLst>
              <p:tags r:id="rId5"/>
            </p:custDataLst>
          </p:nvPr>
        </p:nvPicPr>
        <p:blipFill rotWithShape="1">
          <a:blip r:embed="rId12"/>
          <a:srcRect l="2118" t="11016" r="24239" b="17300"/>
          <a:stretch/>
        </p:blipFill>
        <p:spPr>
          <a:xfrm>
            <a:off x="2400300" y="2277901"/>
            <a:ext cx="3297116" cy="1936863"/>
          </a:xfrm>
          <a:prstGeom prst="rect">
            <a:avLst/>
          </a:prstGeom>
        </p:spPr>
      </p:pic>
      <p:sp>
        <p:nvSpPr>
          <p:cNvPr id="20" name="Rectangle 4"/>
          <p:cNvSpPr>
            <a:spLocks noChangeArrowheads="1"/>
          </p:cNvSpPr>
          <p:nvPr>
            <p:custDataLst>
              <p:tags r:id="rId6"/>
            </p:custDataLst>
          </p:nvPr>
        </p:nvSpPr>
        <p:spPr bwMode="auto">
          <a:xfrm>
            <a:off x="7410995" y="110789"/>
            <a:ext cx="2006055" cy="1218537"/>
          </a:xfrm>
          <a:prstGeom prst="rect">
            <a:avLst/>
          </a:prstGeom>
          <a:solidFill>
            <a:schemeClr val="accent2"/>
          </a:solidFill>
          <a:ln w="12700">
            <a:solidFill>
              <a:schemeClr val="accent2"/>
            </a:solidFill>
            <a:miter lim="800000"/>
            <a:headEnd/>
            <a:tailEnd/>
          </a:ln>
          <a:effectLst/>
        </p:spPr>
        <p:txBody>
          <a:bodyPr lIns="54000" tIns="54000" rIns="54000" bIns="54000" anchor="ctr" anchorCtr="1"/>
          <a:lstStyle/>
          <a:p>
            <a:pPr algn="ctr" defTabSz="762000" eaLnBrk="0" hangingPunct="0">
              <a:lnSpc>
                <a:spcPct val="90000"/>
              </a:lnSpc>
              <a:spcBef>
                <a:spcPts val="600"/>
              </a:spcBef>
            </a:pPr>
            <a:r>
              <a:rPr lang="en-US" sz="900" dirty="0" smtClean="0">
                <a:solidFill>
                  <a:schemeClr val="bg1"/>
                </a:solidFill>
              </a:rPr>
              <a:t>Flag: Analysis Toolbox and </a:t>
            </a:r>
            <a:br>
              <a:rPr lang="en-US" sz="900" dirty="0" smtClean="0">
                <a:solidFill>
                  <a:schemeClr val="bg1"/>
                </a:solidFill>
              </a:rPr>
            </a:br>
            <a:r>
              <a:rPr lang="en-US" sz="900" dirty="0" smtClean="0">
                <a:solidFill>
                  <a:schemeClr val="bg1"/>
                </a:solidFill>
              </a:rPr>
              <a:t>K-Reinvest are specific tools used in Germany for valuation practice and they are not available globally. </a:t>
            </a:r>
          </a:p>
          <a:p>
            <a:pPr algn="ctr" defTabSz="762000" eaLnBrk="0" hangingPunct="0">
              <a:lnSpc>
                <a:spcPct val="90000"/>
              </a:lnSpc>
              <a:spcBef>
                <a:spcPts val="600"/>
              </a:spcBef>
            </a:pPr>
            <a:r>
              <a:rPr lang="en-US" sz="900" dirty="0">
                <a:solidFill>
                  <a:schemeClr val="bg1"/>
                </a:solidFill>
              </a:rPr>
              <a:t>Benchmarking Plus tool is available in Germany. Please ask </a:t>
            </a:r>
            <a:r>
              <a:rPr lang="en-US" sz="900" dirty="0" smtClean="0">
                <a:solidFill>
                  <a:schemeClr val="bg1"/>
                </a:solidFill>
              </a:rPr>
              <a:t>for benchmarking options in your region.</a:t>
            </a:r>
            <a:endParaRPr lang="en-US" sz="900" dirty="0">
              <a:solidFill>
                <a:schemeClr val="bg1"/>
              </a:solidFill>
            </a:endParaRPr>
          </a:p>
        </p:txBody>
      </p:sp>
      <p:pic>
        <p:nvPicPr>
          <p:cNvPr id="3" name="Grafik 2"/>
          <p:cNvPicPr>
            <a:picLocks noChangeAspect="1"/>
          </p:cNvPicPr>
          <p:nvPr>
            <p:custDataLst>
              <p:tags r:id="rId7"/>
            </p:custDataLst>
          </p:nvPr>
        </p:nvPicPr>
        <p:blipFill>
          <a:blip r:embed="rId13"/>
          <a:stretch>
            <a:fillRect/>
          </a:stretch>
        </p:blipFill>
        <p:spPr>
          <a:xfrm>
            <a:off x="-2614293" y="4239419"/>
            <a:ext cx="1999661" cy="2225233"/>
          </a:xfrm>
          <a:prstGeom prst="rect">
            <a:avLst/>
          </a:prstGeom>
        </p:spPr>
      </p:pic>
      <p:pic>
        <p:nvPicPr>
          <p:cNvPr id="11" name="Grafik 10"/>
          <p:cNvPicPr>
            <a:picLocks noChangeAspect="1"/>
          </p:cNvPicPr>
          <p:nvPr>
            <p:custDataLst>
              <p:tags r:id="rId8"/>
            </p:custDataLst>
          </p:nvPr>
        </p:nvPicPr>
        <p:blipFill>
          <a:blip r:embed="rId14"/>
          <a:stretch>
            <a:fillRect/>
          </a:stretch>
        </p:blipFill>
        <p:spPr>
          <a:xfrm>
            <a:off x="-2569267" y="1819275"/>
            <a:ext cx="2005758" cy="2225233"/>
          </a:xfrm>
          <a:prstGeom prst="rect">
            <a:avLst/>
          </a:prstGeom>
        </p:spPr>
      </p:pic>
      <p:graphicFrame>
        <p:nvGraphicFramePr>
          <p:cNvPr id="27" name="Objekt 26"/>
          <p:cNvGraphicFramePr>
            <a:graphicFrameLocks noChangeAspect="1"/>
          </p:cNvGraphicFramePr>
          <p:nvPr>
            <p:extLst>
              <p:ext uri="{D42A27DB-BD31-4B8C-83A1-F6EECF244321}">
                <p14:modId xmlns:p14="http://schemas.microsoft.com/office/powerpoint/2010/main" val="2442697011"/>
              </p:ext>
            </p:extLst>
          </p:nvPr>
        </p:nvGraphicFramePr>
        <p:xfrm>
          <a:off x="-1529032" y="1104285"/>
          <a:ext cx="914400" cy="771525"/>
        </p:xfrm>
        <a:graphic>
          <a:graphicData uri="http://schemas.openxmlformats.org/presentationml/2006/ole">
            <mc:AlternateContent xmlns:mc="http://schemas.openxmlformats.org/markup-compatibility/2006">
              <mc:Choice xmlns:v="urn:schemas-microsoft-com:vml" Requires="v">
                <p:oleObj spid="_x0000_s21545" name="Arbeitsblatt" showAsIcon="1" r:id="rId15" imgW="914400" imgH="771480" progId="Excel.Sheet.12">
                  <p:embed/>
                </p:oleObj>
              </mc:Choice>
              <mc:Fallback>
                <p:oleObj name="Arbeitsblatt" showAsIcon="1" r:id="rId15" imgW="914400" imgH="771480" progId="Excel.Sheet.12">
                  <p:embed/>
                  <p:pic>
                    <p:nvPicPr>
                      <p:cNvPr id="0" name=""/>
                      <p:cNvPicPr/>
                      <p:nvPr/>
                    </p:nvPicPr>
                    <p:blipFill>
                      <a:blip r:embed="rId16"/>
                      <a:stretch>
                        <a:fillRect/>
                      </a:stretch>
                    </p:blipFill>
                    <p:spPr>
                      <a:xfrm>
                        <a:off x="-1529032" y="110428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61266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a:t>Investment (Planning) </a:t>
            </a:r>
          </a:p>
        </p:txBody>
      </p:sp>
      <p:sp>
        <p:nvSpPr>
          <p:cNvPr id="4" name="Titel 3"/>
          <p:cNvSpPr>
            <a:spLocks noGrp="1"/>
          </p:cNvSpPr>
          <p:nvPr>
            <p:ph type="title"/>
          </p:nvPr>
        </p:nvSpPr>
        <p:spPr/>
        <p:txBody>
          <a:bodyPr/>
          <a:lstStyle/>
          <a:p>
            <a:r>
              <a:rPr lang="en-US" dirty="0"/>
              <a:t>Overview </a:t>
            </a:r>
            <a:r>
              <a:rPr lang="en-US" dirty="0" smtClean="0"/>
              <a:t>(2/4) </a:t>
            </a:r>
            <a:r>
              <a:rPr lang="en-US" dirty="0"/>
              <a:t>– </a:t>
            </a:r>
            <a:r>
              <a:rPr lang="en-US" dirty="0" smtClean="0"/>
              <a:t>Analysis puzzle</a:t>
            </a:r>
            <a:endParaRPr lang="en-US" dirty="0"/>
          </a:p>
        </p:txBody>
      </p:sp>
      <p:grpSp>
        <p:nvGrpSpPr>
          <p:cNvPr id="2" name="Gruppieren 1"/>
          <p:cNvGrpSpPr/>
          <p:nvPr/>
        </p:nvGrpSpPr>
        <p:grpSpPr>
          <a:xfrm>
            <a:off x="488950" y="1332554"/>
            <a:ext cx="8937283" cy="4658720"/>
            <a:chOff x="272481" y="1101645"/>
            <a:chExt cx="9361039" cy="4658720"/>
          </a:xfrm>
        </p:grpSpPr>
        <p:sp>
          <p:nvSpPr>
            <p:cNvPr id="78" name="Freihandform 77"/>
            <p:cNvSpPr/>
            <p:nvPr/>
          </p:nvSpPr>
          <p:spPr>
            <a:xfrm>
              <a:off x="8193360" y="1124744"/>
              <a:ext cx="676408" cy="4363095"/>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73810"/>
                <a:gd name="connsiteX1" fmla="*/ 505964 w 1054543"/>
                <a:gd name="connsiteY1" fmla="*/ 4994404 h 5173810"/>
                <a:gd name="connsiteX2" fmla="*/ 0 w 1054543"/>
                <a:gd name="connsiteY2" fmla="*/ 4921335 h 5173810"/>
                <a:gd name="connsiteX3" fmla="*/ 510726 w 1054543"/>
                <a:gd name="connsiteY3" fmla="*/ 4756279 h 5173810"/>
                <a:gd name="connsiteX4" fmla="*/ 515488 w 1054543"/>
                <a:gd name="connsiteY4" fmla="*/ 346997 h 5173810"/>
                <a:gd name="connsiteX5" fmla="*/ 898103 w 1054543"/>
                <a:gd name="connsiteY5" fmla="*/ 301655 h 5173810"/>
                <a:gd name="connsiteX6" fmla="*/ 516580 w 1054543"/>
                <a:gd name="connsiteY6" fmla="*/ 157639 h 5173810"/>
                <a:gd name="connsiteX7" fmla="*/ 516579 w 1054543"/>
                <a:gd name="connsiteY7" fmla="*/ 83249 h 5173810"/>
                <a:gd name="connsiteX8" fmla="*/ 1054543 w 1054543"/>
                <a:gd name="connsiteY8" fmla="*/ 83249 h 5173810"/>
                <a:gd name="connsiteX9" fmla="*/ 1054543 w 1054543"/>
                <a:gd name="connsiteY9" fmla="*/ 5051578 h 5173810"/>
                <a:gd name="connsiteX10" fmla="*/ 516579 w 1054543"/>
                <a:gd name="connsiteY10" fmla="*/ 5051578 h 5173810"/>
                <a:gd name="connsiteX0" fmla="*/ 516579 w 1054543"/>
                <a:gd name="connsiteY0" fmla="*/ 5054183 h 5187254"/>
                <a:gd name="connsiteX1" fmla="*/ 505964 w 1054543"/>
                <a:gd name="connsiteY1" fmla="*/ 4994404 h 5187254"/>
                <a:gd name="connsiteX2" fmla="*/ 0 w 1054543"/>
                <a:gd name="connsiteY2" fmla="*/ 4921335 h 5187254"/>
                <a:gd name="connsiteX3" fmla="*/ 510726 w 1054543"/>
                <a:gd name="connsiteY3" fmla="*/ 4756279 h 5187254"/>
                <a:gd name="connsiteX4" fmla="*/ 515488 w 1054543"/>
                <a:gd name="connsiteY4" fmla="*/ 346997 h 5187254"/>
                <a:gd name="connsiteX5" fmla="*/ 898103 w 1054543"/>
                <a:gd name="connsiteY5" fmla="*/ 301655 h 5187254"/>
                <a:gd name="connsiteX6" fmla="*/ 516580 w 1054543"/>
                <a:gd name="connsiteY6" fmla="*/ 157639 h 5187254"/>
                <a:gd name="connsiteX7" fmla="*/ 516579 w 1054543"/>
                <a:gd name="connsiteY7" fmla="*/ 83249 h 5187254"/>
                <a:gd name="connsiteX8" fmla="*/ 1054543 w 1054543"/>
                <a:gd name="connsiteY8" fmla="*/ 83249 h 5187254"/>
                <a:gd name="connsiteX9" fmla="*/ 1054543 w 1054543"/>
                <a:gd name="connsiteY9" fmla="*/ 5051578 h 5187254"/>
                <a:gd name="connsiteX10" fmla="*/ 516579 w 1054543"/>
                <a:gd name="connsiteY10" fmla="*/ 5051578 h 5187254"/>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196725"/>
                <a:gd name="connsiteX1" fmla="*/ 505964 w 1054543"/>
                <a:gd name="connsiteY1" fmla="*/ 4994404 h 5196725"/>
                <a:gd name="connsiteX2" fmla="*/ 0 w 1054543"/>
                <a:gd name="connsiteY2" fmla="*/ 4921335 h 5196725"/>
                <a:gd name="connsiteX3" fmla="*/ 510726 w 1054543"/>
                <a:gd name="connsiteY3" fmla="*/ 4756279 h 5196725"/>
                <a:gd name="connsiteX4" fmla="*/ 515488 w 1054543"/>
                <a:gd name="connsiteY4" fmla="*/ 346997 h 5196725"/>
                <a:gd name="connsiteX5" fmla="*/ 898103 w 1054543"/>
                <a:gd name="connsiteY5" fmla="*/ 301655 h 5196725"/>
                <a:gd name="connsiteX6" fmla="*/ 516580 w 1054543"/>
                <a:gd name="connsiteY6" fmla="*/ 157639 h 5196725"/>
                <a:gd name="connsiteX7" fmla="*/ 516579 w 1054543"/>
                <a:gd name="connsiteY7" fmla="*/ 83249 h 5196725"/>
                <a:gd name="connsiteX8" fmla="*/ 1054543 w 1054543"/>
                <a:gd name="connsiteY8" fmla="*/ 83249 h 5196725"/>
                <a:gd name="connsiteX9" fmla="*/ 1054543 w 1054543"/>
                <a:gd name="connsiteY9" fmla="*/ 5051578 h 5196725"/>
                <a:gd name="connsiteX10" fmla="*/ 516579 w 1054543"/>
                <a:gd name="connsiteY10" fmla="*/ 5051578 h 5196725"/>
                <a:gd name="connsiteX0" fmla="*/ 516579 w 1054543"/>
                <a:gd name="connsiteY0" fmla="*/ 5054183 h 5214143"/>
                <a:gd name="connsiteX1" fmla="*/ 505964 w 1054543"/>
                <a:gd name="connsiteY1" fmla="*/ 4994404 h 5214143"/>
                <a:gd name="connsiteX2" fmla="*/ 0 w 1054543"/>
                <a:gd name="connsiteY2" fmla="*/ 4921335 h 5214143"/>
                <a:gd name="connsiteX3" fmla="*/ 510726 w 1054543"/>
                <a:gd name="connsiteY3" fmla="*/ 4756279 h 5214143"/>
                <a:gd name="connsiteX4" fmla="*/ 515488 w 1054543"/>
                <a:gd name="connsiteY4" fmla="*/ 346997 h 5214143"/>
                <a:gd name="connsiteX5" fmla="*/ 898103 w 1054543"/>
                <a:gd name="connsiteY5" fmla="*/ 301655 h 5214143"/>
                <a:gd name="connsiteX6" fmla="*/ 516580 w 1054543"/>
                <a:gd name="connsiteY6" fmla="*/ 157639 h 5214143"/>
                <a:gd name="connsiteX7" fmla="*/ 516579 w 1054543"/>
                <a:gd name="connsiteY7" fmla="*/ 83249 h 5214143"/>
                <a:gd name="connsiteX8" fmla="*/ 1054543 w 1054543"/>
                <a:gd name="connsiteY8" fmla="*/ 83249 h 5214143"/>
                <a:gd name="connsiteX9" fmla="*/ 1054543 w 1054543"/>
                <a:gd name="connsiteY9" fmla="*/ 5051578 h 5214143"/>
                <a:gd name="connsiteX10" fmla="*/ 516579 w 1054543"/>
                <a:gd name="connsiteY10" fmla="*/ 5051578 h 52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214143">
                  <a:moveTo>
                    <a:pt x="516579" y="5054183"/>
                  </a:moveTo>
                  <a:lnTo>
                    <a:pt x="505964" y="4994404"/>
                  </a:lnTo>
                  <a:cubicBezTo>
                    <a:pt x="365487" y="4966325"/>
                    <a:pt x="215647" y="5214143"/>
                    <a:pt x="0" y="4921335"/>
                  </a:cubicBezTo>
                  <a:cubicBezTo>
                    <a:pt x="102379" y="4573244"/>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Results of analysis</a:t>
              </a:r>
              <a:endParaRPr lang="en-US" sz="900" b="1" dirty="0"/>
            </a:p>
          </p:txBody>
        </p:sp>
        <p:sp>
          <p:nvSpPr>
            <p:cNvPr id="79" name="Rechteck 75"/>
            <p:cNvSpPr/>
            <p:nvPr/>
          </p:nvSpPr>
          <p:spPr>
            <a:xfrm>
              <a:off x="992560" y="1101645"/>
              <a:ext cx="7200800" cy="561063"/>
            </a:xfrm>
            <a:custGeom>
              <a:avLst/>
              <a:gdLst>
                <a:gd name="connsiteX0" fmla="*/ 0 w 6552728"/>
                <a:gd name="connsiteY0" fmla="*/ 0 h 360546"/>
                <a:gd name="connsiteX1" fmla="*/ 6552728 w 6552728"/>
                <a:gd name="connsiteY1" fmla="*/ 0 h 360546"/>
                <a:gd name="connsiteX2" fmla="*/ 6552728 w 6552728"/>
                <a:gd name="connsiteY2" fmla="*/ 360546 h 360546"/>
                <a:gd name="connsiteX3" fmla="*/ 0 w 6552728"/>
                <a:gd name="connsiteY3" fmla="*/ 360546 h 360546"/>
                <a:gd name="connsiteX4" fmla="*/ 0 w 6552728"/>
                <a:gd name="connsiteY4"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4615 w 6557343"/>
                <a:gd name="connsiteY5" fmla="*/ 0 h 360546"/>
                <a:gd name="connsiteX0" fmla="*/ 4615 w 6557343"/>
                <a:gd name="connsiteY0" fmla="*/ 0 h 360546"/>
                <a:gd name="connsiteX1" fmla="*/ 6557343 w 6557343"/>
                <a:gd name="connsiteY1" fmla="*/ 0 h 360546"/>
                <a:gd name="connsiteX2" fmla="*/ 6557343 w 6557343"/>
                <a:gd name="connsiteY2" fmla="*/ 360546 h 360546"/>
                <a:gd name="connsiteX3" fmla="*/ 4615 w 6557343"/>
                <a:gd name="connsiteY3" fmla="*/ 360546 h 360546"/>
                <a:gd name="connsiteX4" fmla="*/ 0 w 6557343"/>
                <a:gd name="connsiteY4" fmla="*/ 168498 h 360546"/>
                <a:gd name="connsiteX5" fmla="*/ 1 w 6557343"/>
                <a:gd name="connsiteY5" fmla="*/ 54198 h 360546"/>
                <a:gd name="connsiteX6" fmla="*/ 4615 w 6557343"/>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4614 w 6557342"/>
                <a:gd name="connsiteY4" fmla="*/ 216024 h 360546"/>
                <a:gd name="connsiteX5" fmla="*/ 0 w 6557342"/>
                <a:gd name="connsiteY5" fmla="*/ 54198 h 360546"/>
                <a:gd name="connsiteX6" fmla="*/ 4614 w 6557342"/>
                <a:gd name="connsiteY6"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4614 w 6557342"/>
                <a:gd name="connsiteY5" fmla="*/ 216024 h 360546"/>
                <a:gd name="connsiteX6" fmla="*/ 0 w 6557342"/>
                <a:gd name="connsiteY6" fmla="*/ 54198 h 360546"/>
                <a:gd name="connsiteX7" fmla="*/ 4614 w 6557342"/>
                <a:gd name="connsiteY7" fmla="*/ 0 h 360546"/>
                <a:gd name="connsiteX0" fmla="*/ 4614 w 6557342"/>
                <a:gd name="connsiteY0" fmla="*/ 0 h 360546"/>
                <a:gd name="connsiteX1" fmla="*/ 6557342 w 6557342"/>
                <a:gd name="connsiteY1" fmla="*/ 0 h 360546"/>
                <a:gd name="connsiteX2" fmla="*/ 6557342 w 6557342"/>
                <a:gd name="connsiteY2" fmla="*/ 360546 h 360546"/>
                <a:gd name="connsiteX3" fmla="*/ 4614 w 6557342"/>
                <a:gd name="connsiteY3" fmla="*/ 360546 h 360546"/>
                <a:gd name="connsiteX4" fmla="*/ 3174 w 6557342"/>
                <a:gd name="connsiteY4" fmla="*/ 260573 h 360546"/>
                <a:gd name="connsiteX5" fmla="*/ 220637 w 6557342"/>
                <a:gd name="connsiteY5" fmla="*/ 216024 h 360546"/>
                <a:gd name="connsiteX6" fmla="*/ 0 w 6557342"/>
                <a:gd name="connsiteY6" fmla="*/ 54198 h 360546"/>
                <a:gd name="connsiteX7" fmla="*/ 4614 w 6557342"/>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216024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360546"/>
                <a:gd name="connsiteX1" fmla="*/ 6554168 w 6554168"/>
                <a:gd name="connsiteY1" fmla="*/ 0 h 360546"/>
                <a:gd name="connsiteX2" fmla="*/ 6554168 w 6554168"/>
                <a:gd name="connsiteY2" fmla="*/ 360546 h 360546"/>
                <a:gd name="connsiteX3" fmla="*/ 1440 w 6554168"/>
                <a:gd name="connsiteY3" fmla="*/ 360546 h 360546"/>
                <a:gd name="connsiteX4" fmla="*/ 0 w 6554168"/>
                <a:gd name="connsiteY4" fmla="*/ 260573 h 360546"/>
                <a:gd name="connsiteX5" fmla="*/ 217463 w 6554168"/>
                <a:gd name="connsiteY5" fmla="*/ 144016 h 360546"/>
                <a:gd name="connsiteX6" fmla="*/ 1439 w 6554168"/>
                <a:gd name="connsiteY6" fmla="*/ 72008 h 360546"/>
                <a:gd name="connsiteX7" fmla="*/ 1440 w 6554168"/>
                <a:gd name="connsiteY7" fmla="*/ 0 h 360546"/>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440 w 6554168"/>
                <a:gd name="connsiteY0" fmla="*/ 0 h 429699"/>
                <a:gd name="connsiteX1" fmla="*/ 6554168 w 6554168"/>
                <a:gd name="connsiteY1" fmla="*/ 0 h 429699"/>
                <a:gd name="connsiteX2" fmla="*/ 6554168 w 6554168"/>
                <a:gd name="connsiteY2" fmla="*/ 360546 h 429699"/>
                <a:gd name="connsiteX3" fmla="*/ 1440 w 6554168"/>
                <a:gd name="connsiteY3" fmla="*/ 360546 h 429699"/>
                <a:gd name="connsiteX4" fmla="*/ 0 w 6554168"/>
                <a:gd name="connsiteY4" fmla="*/ 260573 h 429699"/>
                <a:gd name="connsiteX5" fmla="*/ 217463 w 6554168"/>
                <a:gd name="connsiteY5" fmla="*/ 216024 h 429699"/>
                <a:gd name="connsiteX6" fmla="*/ 1439 w 6554168"/>
                <a:gd name="connsiteY6" fmla="*/ 72008 h 429699"/>
                <a:gd name="connsiteX7" fmla="*/ 1440 w 6554168"/>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429699"/>
                <a:gd name="connsiteX1" fmla="*/ 6552729 w 6552729"/>
                <a:gd name="connsiteY1" fmla="*/ 0 h 429699"/>
                <a:gd name="connsiteX2" fmla="*/ 6552729 w 6552729"/>
                <a:gd name="connsiteY2" fmla="*/ 360546 h 429699"/>
                <a:gd name="connsiteX3" fmla="*/ 1 w 6552729"/>
                <a:gd name="connsiteY3" fmla="*/ 360546 h 429699"/>
                <a:gd name="connsiteX4" fmla="*/ 0 w 6552729"/>
                <a:gd name="connsiteY4" fmla="*/ 288032 h 429699"/>
                <a:gd name="connsiteX5" fmla="*/ 216024 w 6552729"/>
                <a:gd name="connsiteY5" fmla="*/ 216024 h 429699"/>
                <a:gd name="connsiteX6" fmla="*/ 0 w 6552729"/>
                <a:gd name="connsiteY6" fmla="*/ 72008 h 429699"/>
                <a:gd name="connsiteX7" fmla="*/ 1 w 6552729"/>
                <a:gd name="connsiteY7" fmla="*/ 0 h 429699"/>
                <a:gd name="connsiteX0" fmla="*/ 1 w 6552729"/>
                <a:gd name="connsiteY0" fmla="*/ 0 h 360546"/>
                <a:gd name="connsiteX1" fmla="*/ 6552729 w 6552729"/>
                <a:gd name="connsiteY1" fmla="*/ 0 h 360546"/>
                <a:gd name="connsiteX2" fmla="*/ 6552729 w 6552729"/>
                <a:gd name="connsiteY2" fmla="*/ 360546 h 360546"/>
                <a:gd name="connsiteX3" fmla="*/ 1 w 6552729"/>
                <a:gd name="connsiteY3" fmla="*/ 360546 h 360546"/>
                <a:gd name="connsiteX4" fmla="*/ 0 w 6552729"/>
                <a:gd name="connsiteY4" fmla="*/ 288032 h 360546"/>
                <a:gd name="connsiteX5" fmla="*/ 216024 w 6552729"/>
                <a:gd name="connsiteY5" fmla="*/ 216024 h 360546"/>
                <a:gd name="connsiteX6" fmla="*/ 0 w 6552729"/>
                <a:gd name="connsiteY6" fmla="*/ 72008 h 360546"/>
                <a:gd name="connsiteX7" fmla="*/ 1 w 6552729"/>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0 h 360546"/>
                <a:gd name="connsiteX1" fmla="*/ 6559244 w 6559244"/>
                <a:gd name="connsiteY1" fmla="*/ 0 h 360546"/>
                <a:gd name="connsiteX2" fmla="*/ 6559244 w 6559244"/>
                <a:gd name="connsiteY2" fmla="*/ 360546 h 360546"/>
                <a:gd name="connsiteX3" fmla="*/ 6516 w 6559244"/>
                <a:gd name="connsiteY3" fmla="*/ 360546 h 360546"/>
                <a:gd name="connsiteX4" fmla="*/ 6515 w 6559244"/>
                <a:gd name="connsiteY4" fmla="*/ 288032 h 360546"/>
                <a:gd name="connsiteX5" fmla="*/ 222539 w 6559244"/>
                <a:gd name="connsiteY5" fmla="*/ 216024 h 360546"/>
                <a:gd name="connsiteX6" fmla="*/ 6515 w 6559244"/>
                <a:gd name="connsiteY6" fmla="*/ 72008 h 360546"/>
                <a:gd name="connsiteX7" fmla="*/ 6516 w 6559244"/>
                <a:gd name="connsiteY7" fmla="*/ 0 h 360546"/>
                <a:gd name="connsiteX0" fmla="*/ 6516 w 6559244"/>
                <a:gd name="connsiteY0" fmla="*/ 57174 h 417720"/>
                <a:gd name="connsiteX1" fmla="*/ 6559244 w 6559244"/>
                <a:gd name="connsiteY1" fmla="*/ 57174 h 417720"/>
                <a:gd name="connsiteX2" fmla="*/ 6559244 w 6559244"/>
                <a:gd name="connsiteY2" fmla="*/ 417720 h 417720"/>
                <a:gd name="connsiteX3" fmla="*/ 6516 w 6559244"/>
                <a:gd name="connsiteY3" fmla="*/ 417720 h 417720"/>
                <a:gd name="connsiteX4" fmla="*/ 6515 w 6559244"/>
                <a:gd name="connsiteY4" fmla="*/ 345206 h 417720"/>
                <a:gd name="connsiteX5" fmla="*/ 222539 w 6559244"/>
                <a:gd name="connsiteY5" fmla="*/ 201190 h 417720"/>
                <a:gd name="connsiteX6" fmla="*/ 6515 w 6559244"/>
                <a:gd name="connsiteY6" fmla="*/ 129182 h 417720"/>
                <a:gd name="connsiteX7" fmla="*/ 6516 w 6559244"/>
                <a:gd name="connsiteY7" fmla="*/ 57174 h 417720"/>
                <a:gd name="connsiteX0" fmla="*/ 6516 w 6559244"/>
                <a:gd name="connsiteY0" fmla="*/ 57174 h 446913"/>
                <a:gd name="connsiteX1" fmla="*/ 6559244 w 6559244"/>
                <a:gd name="connsiteY1" fmla="*/ 57174 h 446913"/>
                <a:gd name="connsiteX2" fmla="*/ 6559244 w 6559244"/>
                <a:gd name="connsiteY2" fmla="*/ 417720 h 446913"/>
                <a:gd name="connsiteX3" fmla="*/ 6516 w 6559244"/>
                <a:gd name="connsiteY3" fmla="*/ 417720 h 446913"/>
                <a:gd name="connsiteX4" fmla="*/ 6515 w 6559244"/>
                <a:gd name="connsiteY4" fmla="*/ 345206 h 446913"/>
                <a:gd name="connsiteX5" fmla="*/ 222539 w 6559244"/>
                <a:gd name="connsiteY5" fmla="*/ 201190 h 446913"/>
                <a:gd name="connsiteX6" fmla="*/ 6515 w 6559244"/>
                <a:gd name="connsiteY6" fmla="*/ 129182 h 446913"/>
                <a:gd name="connsiteX7" fmla="*/ 6516 w 6559244"/>
                <a:gd name="connsiteY7" fmla="*/ 57174 h 446913"/>
                <a:gd name="connsiteX0" fmla="*/ 6516 w 6559244"/>
                <a:gd name="connsiteY0" fmla="*/ 19868 h 409607"/>
                <a:gd name="connsiteX1" fmla="*/ 6559244 w 6559244"/>
                <a:gd name="connsiteY1" fmla="*/ 19868 h 409607"/>
                <a:gd name="connsiteX2" fmla="*/ 6559244 w 6559244"/>
                <a:gd name="connsiteY2" fmla="*/ 380414 h 409607"/>
                <a:gd name="connsiteX3" fmla="*/ 6516 w 6559244"/>
                <a:gd name="connsiteY3" fmla="*/ 380414 h 409607"/>
                <a:gd name="connsiteX4" fmla="*/ 6515 w 6559244"/>
                <a:gd name="connsiteY4" fmla="*/ 307900 h 409607"/>
                <a:gd name="connsiteX5" fmla="*/ 222539 w 6559244"/>
                <a:gd name="connsiteY5" fmla="*/ 163884 h 409607"/>
                <a:gd name="connsiteX6" fmla="*/ 6515 w 6559244"/>
                <a:gd name="connsiteY6" fmla="*/ 91876 h 409607"/>
                <a:gd name="connsiteX7" fmla="*/ 6516 w 6559244"/>
                <a:gd name="connsiteY7" fmla="*/ 19868 h 409607"/>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6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19868 h 438728"/>
                <a:gd name="connsiteX1" fmla="*/ 6559244 w 6559244"/>
                <a:gd name="connsiteY1" fmla="*/ 19868 h 438728"/>
                <a:gd name="connsiteX2" fmla="*/ 6559244 w 6559244"/>
                <a:gd name="connsiteY2" fmla="*/ 380414 h 438728"/>
                <a:gd name="connsiteX3" fmla="*/ 6516 w 6559244"/>
                <a:gd name="connsiteY3" fmla="*/ 380414 h 438728"/>
                <a:gd name="connsiteX4" fmla="*/ 6515 w 6559244"/>
                <a:gd name="connsiteY4" fmla="*/ 307900 h 438728"/>
                <a:gd name="connsiteX5" fmla="*/ 222539 w 6559244"/>
                <a:gd name="connsiteY5" fmla="*/ 163884 h 438728"/>
                <a:gd name="connsiteX6" fmla="*/ 6515 w 6559244"/>
                <a:gd name="connsiteY6" fmla="*/ 91875 h 438728"/>
                <a:gd name="connsiteX7" fmla="*/ 6516 w 6559244"/>
                <a:gd name="connsiteY7" fmla="*/ 19868 h 438728"/>
                <a:gd name="connsiteX0" fmla="*/ 6516 w 6559244"/>
                <a:gd name="connsiteY0" fmla="*/ 54570 h 473430"/>
                <a:gd name="connsiteX1" fmla="*/ 6559244 w 6559244"/>
                <a:gd name="connsiteY1" fmla="*/ 54570 h 473430"/>
                <a:gd name="connsiteX2" fmla="*/ 6559244 w 6559244"/>
                <a:gd name="connsiteY2" fmla="*/ 415116 h 473430"/>
                <a:gd name="connsiteX3" fmla="*/ 6516 w 6559244"/>
                <a:gd name="connsiteY3" fmla="*/ 415116 h 473430"/>
                <a:gd name="connsiteX4" fmla="*/ 6515 w 6559244"/>
                <a:gd name="connsiteY4" fmla="*/ 342602 h 473430"/>
                <a:gd name="connsiteX5" fmla="*/ 222539 w 6559244"/>
                <a:gd name="connsiteY5" fmla="*/ 198586 h 473430"/>
                <a:gd name="connsiteX6" fmla="*/ 6515 w 6559244"/>
                <a:gd name="connsiteY6" fmla="*/ 126577 h 473430"/>
                <a:gd name="connsiteX7" fmla="*/ 6516 w 6559244"/>
                <a:gd name="connsiteY7" fmla="*/ 54570 h 473430"/>
                <a:gd name="connsiteX0" fmla="*/ 6516 w 6559244"/>
                <a:gd name="connsiteY0" fmla="*/ 54570 h 468643"/>
                <a:gd name="connsiteX1" fmla="*/ 6559244 w 6559244"/>
                <a:gd name="connsiteY1" fmla="*/ 54570 h 468643"/>
                <a:gd name="connsiteX2" fmla="*/ 6559244 w 6559244"/>
                <a:gd name="connsiteY2" fmla="*/ 415116 h 468643"/>
                <a:gd name="connsiteX3" fmla="*/ 6516 w 6559244"/>
                <a:gd name="connsiteY3" fmla="*/ 415116 h 468643"/>
                <a:gd name="connsiteX4" fmla="*/ 6515 w 6559244"/>
                <a:gd name="connsiteY4" fmla="*/ 342602 h 468643"/>
                <a:gd name="connsiteX5" fmla="*/ 222539 w 6559244"/>
                <a:gd name="connsiteY5" fmla="*/ 198586 h 468643"/>
                <a:gd name="connsiteX6" fmla="*/ 6515 w 6559244"/>
                <a:gd name="connsiteY6" fmla="*/ 126577 h 468643"/>
                <a:gd name="connsiteX7" fmla="*/ 6516 w 6559244"/>
                <a:gd name="connsiteY7" fmla="*/ 54570 h 468643"/>
                <a:gd name="connsiteX0" fmla="*/ 6516 w 6559244"/>
                <a:gd name="connsiteY0" fmla="*/ 54570 h 461474"/>
                <a:gd name="connsiteX1" fmla="*/ 6559244 w 6559244"/>
                <a:gd name="connsiteY1" fmla="*/ 54570 h 461474"/>
                <a:gd name="connsiteX2" fmla="*/ 6559244 w 6559244"/>
                <a:gd name="connsiteY2" fmla="*/ 415116 h 461474"/>
                <a:gd name="connsiteX3" fmla="*/ 6516 w 6559244"/>
                <a:gd name="connsiteY3" fmla="*/ 415116 h 461474"/>
                <a:gd name="connsiteX4" fmla="*/ 6515 w 6559244"/>
                <a:gd name="connsiteY4" fmla="*/ 342602 h 461474"/>
                <a:gd name="connsiteX5" fmla="*/ 222539 w 6559244"/>
                <a:gd name="connsiteY5" fmla="*/ 198586 h 461474"/>
                <a:gd name="connsiteX6" fmla="*/ 6515 w 6559244"/>
                <a:gd name="connsiteY6" fmla="*/ 126577 h 461474"/>
                <a:gd name="connsiteX7" fmla="*/ 6516 w 6559244"/>
                <a:gd name="connsiteY7" fmla="*/ 54570 h 46147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72007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22539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150531 w 6559244"/>
                <a:gd name="connsiteY6" fmla="*/ 72008 h 406904"/>
                <a:gd name="connsiteX7" fmla="*/ 6515 w 6559244"/>
                <a:gd name="connsiteY7" fmla="*/ 144016 h 406904"/>
                <a:gd name="connsiteX8" fmla="*/ 6516 w 6559244"/>
                <a:gd name="connsiteY8" fmla="*/ 0 h 406904"/>
                <a:gd name="connsiteX0" fmla="*/ 6516 w 6559244"/>
                <a:gd name="connsiteY0" fmla="*/ 33722 h 440626"/>
                <a:gd name="connsiteX1" fmla="*/ 6559244 w 6559244"/>
                <a:gd name="connsiteY1" fmla="*/ 33722 h 440626"/>
                <a:gd name="connsiteX2" fmla="*/ 6559244 w 6559244"/>
                <a:gd name="connsiteY2" fmla="*/ 394268 h 440626"/>
                <a:gd name="connsiteX3" fmla="*/ 6516 w 6559244"/>
                <a:gd name="connsiteY3" fmla="*/ 394268 h 440626"/>
                <a:gd name="connsiteX4" fmla="*/ 6515 w 6559244"/>
                <a:gd name="connsiteY4" fmla="*/ 321754 h 440626"/>
                <a:gd name="connsiteX5" fmla="*/ 294547 w 6559244"/>
                <a:gd name="connsiteY5" fmla="*/ 177738 h 440626"/>
                <a:gd name="connsiteX6" fmla="*/ 150531 w 6559244"/>
                <a:gd name="connsiteY6" fmla="*/ 105730 h 440626"/>
                <a:gd name="connsiteX7" fmla="*/ 6515 w 6559244"/>
                <a:gd name="connsiteY7" fmla="*/ 177738 h 440626"/>
                <a:gd name="connsiteX8" fmla="*/ 6516 w 6559244"/>
                <a:gd name="connsiteY8" fmla="*/ 33722 h 440626"/>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0 h 406904"/>
                <a:gd name="connsiteX1" fmla="*/ 6559244 w 6559244"/>
                <a:gd name="connsiteY1" fmla="*/ 0 h 406904"/>
                <a:gd name="connsiteX2" fmla="*/ 6559244 w 6559244"/>
                <a:gd name="connsiteY2" fmla="*/ 360546 h 406904"/>
                <a:gd name="connsiteX3" fmla="*/ 6516 w 6559244"/>
                <a:gd name="connsiteY3" fmla="*/ 360546 h 406904"/>
                <a:gd name="connsiteX4" fmla="*/ 6515 w 6559244"/>
                <a:gd name="connsiteY4" fmla="*/ 288032 h 406904"/>
                <a:gd name="connsiteX5" fmla="*/ 294547 w 6559244"/>
                <a:gd name="connsiteY5" fmla="*/ 144016 h 406904"/>
                <a:gd name="connsiteX6" fmla="*/ 6515 w 6559244"/>
                <a:gd name="connsiteY6" fmla="*/ 144016 h 406904"/>
                <a:gd name="connsiteX7" fmla="*/ 6516 w 6559244"/>
                <a:gd name="connsiteY7" fmla="*/ 0 h 406904"/>
                <a:gd name="connsiteX0" fmla="*/ 6516 w 6559244"/>
                <a:gd name="connsiteY0" fmla="*/ 100550 h 507454"/>
                <a:gd name="connsiteX1" fmla="*/ 6559244 w 6559244"/>
                <a:gd name="connsiteY1" fmla="*/ 100550 h 507454"/>
                <a:gd name="connsiteX2" fmla="*/ 6559244 w 6559244"/>
                <a:gd name="connsiteY2" fmla="*/ 461096 h 507454"/>
                <a:gd name="connsiteX3" fmla="*/ 6516 w 6559244"/>
                <a:gd name="connsiteY3" fmla="*/ 461096 h 507454"/>
                <a:gd name="connsiteX4" fmla="*/ 6515 w 6559244"/>
                <a:gd name="connsiteY4" fmla="*/ 388582 h 507454"/>
                <a:gd name="connsiteX5" fmla="*/ 294547 w 6559244"/>
                <a:gd name="connsiteY5" fmla="*/ 244566 h 507454"/>
                <a:gd name="connsiteX6" fmla="*/ 6515 w 6559244"/>
                <a:gd name="connsiteY6" fmla="*/ 244566 h 507454"/>
                <a:gd name="connsiteX7" fmla="*/ 6516 w 6559244"/>
                <a:gd name="connsiteY7" fmla="*/ 100550 h 50745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294547 w 6559244"/>
                <a:gd name="connsiteY5" fmla="*/ 244566 h 612204"/>
                <a:gd name="connsiteX6" fmla="*/ 6515 w 6559244"/>
                <a:gd name="connsiteY6" fmla="*/ 244566 h 612204"/>
                <a:gd name="connsiteX7" fmla="*/ 6516 w 6559244"/>
                <a:gd name="connsiteY7" fmla="*/ 100550 h 612204"/>
                <a:gd name="connsiteX0" fmla="*/ 6516 w 6559244"/>
                <a:gd name="connsiteY0" fmla="*/ 100550 h 612204"/>
                <a:gd name="connsiteX1" fmla="*/ 6559244 w 6559244"/>
                <a:gd name="connsiteY1" fmla="*/ 100550 h 612204"/>
                <a:gd name="connsiteX2" fmla="*/ 6559244 w 6559244"/>
                <a:gd name="connsiteY2" fmla="*/ 461096 h 612204"/>
                <a:gd name="connsiteX3" fmla="*/ 6516 w 6559244"/>
                <a:gd name="connsiteY3" fmla="*/ 461096 h 612204"/>
                <a:gd name="connsiteX4" fmla="*/ 6515 w 6559244"/>
                <a:gd name="connsiteY4" fmla="*/ 388582 h 612204"/>
                <a:gd name="connsiteX5" fmla="*/ 366555 w 6559244"/>
                <a:gd name="connsiteY5" fmla="*/ 244566 h 612204"/>
                <a:gd name="connsiteX6" fmla="*/ 6515 w 6559244"/>
                <a:gd name="connsiteY6" fmla="*/ 244566 h 612204"/>
                <a:gd name="connsiteX7" fmla="*/ 6516 w 6559244"/>
                <a:gd name="connsiteY7" fmla="*/ 100550 h 612204"/>
                <a:gd name="connsiteX0" fmla="*/ 6516 w 6559244"/>
                <a:gd name="connsiteY0" fmla="*/ 189450 h 701104"/>
                <a:gd name="connsiteX1" fmla="*/ 6559244 w 6559244"/>
                <a:gd name="connsiteY1" fmla="*/ 189450 h 701104"/>
                <a:gd name="connsiteX2" fmla="*/ 6559244 w 6559244"/>
                <a:gd name="connsiteY2" fmla="*/ 549996 h 701104"/>
                <a:gd name="connsiteX3" fmla="*/ 6516 w 6559244"/>
                <a:gd name="connsiteY3" fmla="*/ 549996 h 701104"/>
                <a:gd name="connsiteX4" fmla="*/ 6515 w 6559244"/>
                <a:gd name="connsiteY4" fmla="*/ 477482 h 701104"/>
                <a:gd name="connsiteX5" fmla="*/ 366555 w 6559244"/>
                <a:gd name="connsiteY5" fmla="*/ 333466 h 701104"/>
                <a:gd name="connsiteX6" fmla="*/ 6515 w 6559244"/>
                <a:gd name="connsiteY6" fmla="*/ 333466 h 701104"/>
                <a:gd name="connsiteX7" fmla="*/ 6516 w 6559244"/>
                <a:gd name="connsiteY7" fmla="*/ 189450 h 701104"/>
                <a:gd name="connsiteX0" fmla="*/ 6516 w 6559244"/>
                <a:gd name="connsiteY0" fmla="*/ 100997 h 612651"/>
                <a:gd name="connsiteX1" fmla="*/ 6559244 w 6559244"/>
                <a:gd name="connsiteY1" fmla="*/ 100997 h 612651"/>
                <a:gd name="connsiteX2" fmla="*/ 6559244 w 6559244"/>
                <a:gd name="connsiteY2" fmla="*/ 461543 h 612651"/>
                <a:gd name="connsiteX3" fmla="*/ 6516 w 6559244"/>
                <a:gd name="connsiteY3" fmla="*/ 461543 h 612651"/>
                <a:gd name="connsiteX4" fmla="*/ 6515 w 6559244"/>
                <a:gd name="connsiteY4" fmla="*/ 389029 h 612651"/>
                <a:gd name="connsiteX5" fmla="*/ 366555 w 6559244"/>
                <a:gd name="connsiteY5" fmla="*/ 245013 h 612651"/>
                <a:gd name="connsiteX6" fmla="*/ 6515 w 6559244"/>
                <a:gd name="connsiteY6" fmla="*/ 245013 h 612651"/>
                <a:gd name="connsiteX7" fmla="*/ 6516 w 6559244"/>
                <a:gd name="connsiteY7" fmla="*/ 100997 h 612651"/>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245013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366555 w 6559244"/>
                <a:gd name="connsiteY5" fmla="*/ 245013 h 578718"/>
                <a:gd name="connsiteX6" fmla="*/ 6515 w 6559244"/>
                <a:gd name="connsiteY6" fmla="*/ 173005 h 578718"/>
                <a:gd name="connsiteX7" fmla="*/ 6516 w 6559244"/>
                <a:gd name="connsiteY7" fmla="*/ 100997 h 578718"/>
                <a:gd name="connsiteX0" fmla="*/ 6516 w 6559244"/>
                <a:gd name="connsiteY0" fmla="*/ 100997 h 578718"/>
                <a:gd name="connsiteX1" fmla="*/ 6559244 w 6559244"/>
                <a:gd name="connsiteY1" fmla="*/ 100997 h 578718"/>
                <a:gd name="connsiteX2" fmla="*/ 6559244 w 6559244"/>
                <a:gd name="connsiteY2" fmla="*/ 461543 h 578718"/>
                <a:gd name="connsiteX3" fmla="*/ 6516 w 6559244"/>
                <a:gd name="connsiteY3" fmla="*/ 461543 h 578718"/>
                <a:gd name="connsiteX4" fmla="*/ 6515 w 6559244"/>
                <a:gd name="connsiteY4" fmla="*/ 389029 h 578718"/>
                <a:gd name="connsiteX5" fmla="*/ 294547 w 6559244"/>
                <a:gd name="connsiteY5" fmla="*/ 245013 h 578718"/>
                <a:gd name="connsiteX6" fmla="*/ 6515 w 6559244"/>
                <a:gd name="connsiteY6" fmla="*/ 173005 h 578718"/>
                <a:gd name="connsiteX7" fmla="*/ 6516 w 6559244"/>
                <a:gd name="connsiteY7" fmla="*/ 100997 h 578718"/>
                <a:gd name="connsiteX0" fmla="*/ 6516 w 6559244"/>
                <a:gd name="connsiteY0" fmla="*/ 132747 h 610468"/>
                <a:gd name="connsiteX1" fmla="*/ 6559244 w 6559244"/>
                <a:gd name="connsiteY1" fmla="*/ 132747 h 610468"/>
                <a:gd name="connsiteX2" fmla="*/ 6559244 w 6559244"/>
                <a:gd name="connsiteY2" fmla="*/ 493293 h 610468"/>
                <a:gd name="connsiteX3" fmla="*/ 6516 w 6559244"/>
                <a:gd name="connsiteY3" fmla="*/ 493293 h 610468"/>
                <a:gd name="connsiteX4" fmla="*/ 6515 w 6559244"/>
                <a:gd name="connsiteY4" fmla="*/ 420779 h 610468"/>
                <a:gd name="connsiteX5" fmla="*/ 294547 w 6559244"/>
                <a:gd name="connsiteY5" fmla="*/ 276763 h 610468"/>
                <a:gd name="connsiteX6" fmla="*/ 6515 w 6559244"/>
                <a:gd name="connsiteY6" fmla="*/ 204755 h 610468"/>
                <a:gd name="connsiteX7" fmla="*/ 6516 w 6559244"/>
                <a:gd name="connsiteY7" fmla="*/ 132747 h 610468"/>
                <a:gd name="connsiteX0" fmla="*/ 6516 w 6559244"/>
                <a:gd name="connsiteY0" fmla="*/ 78202 h 555923"/>
                <a:gd name="connsiteX1" fmla="*/ 6559244 w 6559244"/>
                <a:gd name="connsiteY1" fmla="*/ 78202 h 555923"/>
                <a:gd name="connsiteX2" fmla="*/ 6559244 w 6559244"/>
                <a:gd name="connsiteY2" fmla="*/ 438748 h 555923"/>
                <a:gd name="connsiteX3" fmla="*/ 6516 w 6559244"/>
                <a:gd name="connsiteY3" fmla="*/ 438748 h 555923"/>
                <a:gd name="connsiteX4" fmla="*/ 6515 w 6559244"/>
                <a:gd name="connsiteY4" fmla="*/ 366234 h 555923"/>
                <a:gd name="connsiteX5" fmla="*/ 294547 w 6559244"/>
                <a:gd name="connsiteY5" fmla="*/ 222218 h 555923"/>
                <a:gd name="connsiteX6" fmla="*/ 6515 w 6559244"/>
                <a:gd name="connsiteY6" fmla="*/ 150210 h 555923"/>
                <a:gd name="connsiteX7" fmla="*/ 6516 w 6559244"/>
                <a:gd name="connsiteY7" fmla="*/ 78202 h 555923"/>
                <a:gd name="connsiteX0" fmla="*/ 6516 w 6559244"/>
                <a:gd name="connsiteY0" fmla="*/ 78202 h 529134"/>
                <a:gd name="connsiteX1" fmla="*/ 6559244 w 6559244"/>
                <a:gd name="connsiteY1" fmla="*/ 78202 h 529134"/>
                <a:gd name="connsiteX2" fmla="*/ 6559244 w 6559244"/>
                <a:gd name="connsiteY2" fmla="*/ 438748 h 529134"/>
                <a:gd name="connsiteX3" fmla="*/ 6516 w 6559244"/>
                <a:gd name="connsiteY3" fmla="*/ 438748 h 529134"/>
                <a:gd name="connsiteX4" fmla="*/ 6515 w 6559244"/>
                <a:gd name="connsiteY4" fmla="*/ 366234 h 529134"/>
                <a:gd name="connsiteX5" fmla="*/ 294547 w 6559244"/>
                <a:gd name="connsiteY5" fmla="*/ 222218 h 529134"/>
                <a:gd name="connsiteX6" fmla="*/ 6515 w 6559244"/>
                <a:gd name="connsiteY6" fmla="*/ 150210 h 529134"/>
                <a:gd name="connsiteX7" fmla="*/ 6516 w 6559244"/>
                <a:gd name="connsiteY7" fmla="*/ 78202 h 529134"/>
                <a:gd name="connsiteX0" fmla="*/ 6516 w 6559244"/>
                <a:gd name="connsiteY0" fmla="*/ 12388 h 529134"/>
                <a:gd name="connsiteX1" fmla="*/ 6559244 w 6559244"/>
                <a:gd name="connsiteY1" fmla="*/ 12388 h 529134"/>
                <a:gd name="connsiteX2" fmla="*/ 6559244 w 6559244"/>
                <a:gd name="connsiteY2" fmla="*/ 372934 h 529134"/>
                <a:gd name="connsiteX3" fmla="*/ 6516 w 6559244"/>
                <a:gd name="connsiteY3" fmla="*/ 372934 h 529134"/>
                <a:gd name="connsiteX4" fmla="*/ 6515 w 6559244"/>
                <a:gd name="connsiteY4" fmla="*/ 300420 h 529134"/>
                <a:gd name="connsiteX5" fmla="*/ 288032 w 6559244"/>
                <a:gd name="connsiteY5" fmla="*/ 222218 h 529134"/>
                <a:gd name="connsiteX6" fmla="*/ 6515 w 6559244"/>
                <a:gd name="connsiteY6" fmla="*/ 84396 h 529134"/>
                <a:gd name="connsiteX7" fmla="*/ 6516 w 6559244"/>
                <a:gd name="connsiteY7" fmla="*/ 12388 h 529134"/>
                <a:gd name="connsiteX0" fmla="*/ 6516 w 6559244"/>
                <a:gd name="connsiteY0" fmla="*/ 70902 h 587648"/>
                <a:gd name="connsiteX1" fmla="*/ 6559244 w 6559244"/>
                <a:gd name="connsiteY1" fmla="*/ 70902 h 587648"/>
                <a:gd name="connsiteX2" fmla="*/ 6559244 w 6559244"/>
                <a:gd name="connsiteY2" fmla="*/ 431448 h 587648"/>
                <a:gd name="connsiteX3" fmla="*/ 6516 w 6559244"/>
                <a:gd name="connsiteY3" fmla="*/ 431448 h 587648"/>
                <a:gd name="connsiteX4" fmla="*/ 6515 w 6559244"/>
                <a:gd name="connsiteY4" fmla="*/ 358934 h 587648"/>
                <a:gd name="connsiteX5" fmla="*/ 288032 w 6559244"/>
                <a:gd name="connsiteY5" fmla="*/ 280732 h 587648"/>
                <a:gd name="connsiteX6" fmla="*/ 6515 w 6559244"/>
                <a:gd name="connsiteY6" fmla="*/ 142910 h 587648"/>
                <a:gd name="connsiteX7" fmla="*/ 6516 w 6559244"/>
                <a:gd name="connsiteY7" fmla="*/ 70902 h 587648"/>
                <a:gd name="connsiteX0" fmla="*/ 6516 w 6559244"/>
                <a:gd name="connsiteY0" fmla="*/ 155040 h 671786"/>
                <a:gd name="connsiteX1" fmla="*/ 6559244 w 6559244"/>
                <a:gd name="connsiteY1" fmla="*/ 155040 h 671786"/>
                <a:gd name="connsiteX2" fmla="*/ 6559244 w 6559244"/>
                <a:gd name="connsiteY2" fmla="*/ 515586 h 671786"/>
                <a:gd name="connsiteX3" fmla="*/ 6516 w 6559244"/>
                <a:gd name="connsiteY3" fmla="*/ 515586 h 671786"/>
                <a:gd name="connsiteX4" fmla="*/ 6515 w 6559244"/>
                <a:gd name="connsiteY4" fmla="*/ 443072 h 671786"/>
                <a:gd name="connsiteX5" fmla="*/ 288032 w 6559244"/>
                <a:gd name="connsiteY5" fmla="*/ 364870 h 671786"/>
                <a:gd name="connsiteX6" fmla="*/ 6515 w 6559244"/>
                <a:gd name="connsiteY6" fmla="*/ 227048 h 671786"/>
                <a:gd name="connsiteX7" fmla="*/ 6516 w 6559244"/>
                <a:gd name="connsiteY7" fmla="*/ 155040 h 671786"/>
                <a:gd name="connsiteX0" fmla="*/ 6516 w 6559244"/>
                <a:gd name="connsiteY0" fmla="*/ 88588 h 605334"/>
                <a:gd name="connsiteX1" fmla="*/ 6559244 w 6559244"/>
                <a:gd name="connsiteY1" fmla="*/ 88588 h 605334"/>
                <a:gd name="connsiteX2" fmla="*/ 6559244 w 6559244"/>
                <a:gd name="connsiteY2" fmla="*/ 449134 h 605334"/>
                <a:gd name="connsiteX3" fmla="*/ 6516 w 6559244"/>
                <a:gd name="connsiteY3" fmla="*/ 449134 h 605334"/>
                <a:gd name="connsiteX4" fmla="*/ 6515 w 6559244"/>
                <a:gd name="connsiteY4" fmla="*/ 376620 h 605334"/>
                <a:gd name="connsiteX5" fmla="*/ 288032 w 6559244"/>
                <a:gd name="connsiteY5" fmla="*/ 298418 h 605334"/>
                <a:gd name="connsiteX6" fmla="*/ 6515 w 6559244"/>
                <a:gd name="connsiteY6" fmla="*/ 160596 h 605334"/>
                <a:gd name="connsiteX7" fmla="*/ 6516 w 6559244"/>
                <a:gd name="connsiteY7" fmla="*/ 88588 h 605334"/>
                <a:gd name="connsiteX0" fmla="*/ 6516 w 6559244"/>
                <a:gd name="connsiteY0" fmla="*/ 88588 h 597595"/>
                <a:gd name="connsiteX1" fmla="*/ 6559244 w 6559244"/>
                <a:gd name="connsiteY1" fmla="*/ 88588 h 597595"/>
                <a:gd name="connsiteX2" fmla="*/ 6559244 w 6559244"/>
                <a:gd name="connsiteY2" fmla="*/ 449134 h 597595"/>
                <a:gd name="connsiteX3" fmla="*/ 6516 w 6559244"/>
                <a:gd name="connsiteY3" fmla="*/ 449134 h 597595"/>
                <a:gd name="connsiteX4" fmla="*/ 6515 w 6559244"/>
                <a:gd name="connsiteY4" fmla="*/ 376620 h 597595"/>
                <a:gd name="connsiteX5" fmla="*/ 288032 w 6559244"/>
                <a:gd name="connsiteY5" fmla="*/ 298418 h 597595"/>
                <a:gd name="connsiteX6" fmla="*/ 6515 w 6559244"/>
                <a:gd name="connsiteY6" fmla="*/ 160596 h 597595"/>
                <a:gd name="connsiteX7" fmla="*/ 6516 w 6559244"/>
                <a:gd name="connsiteY7" fmla="*/ 88588 h 597595"/>
                <a:gd name="connsiteX0" fmla="*/ 6516 w 6559244"/>
                <a:gd name="connsiteY0" fmla="*/ 103669 h 612676"/>
                <a:gd name="connsiteX1" fmla="*/ 6559244 w 6559244"/>
                <a:gd name="connsiteY1" fmla="*/ 103669 h 612676"/>
                <a:gd name="connsiteX2" fmla="*/ 6559244 w 6559244"/>
                <a:gd name="connsiteY2" fmla="*/ 464215 h 612676"/>
                <a:gd name="connsiteX3" fmla="*/ 6516 w 6559244"/>
                <a:gd name="connsiteY3" fmla="*/ 464215 h 612676"/>
                <a:gd name="connsiteX4" fmla="*/ 6515 w 6559244"/>
                <a:gd name="connsiteY4" fmla="*/ 391701 h 612676"/>
                <a:gd name="connsiteX5" fmla="*/ 288032 w 6559244"/>
                <a:gd name="connsiteY5" fmla="*/ 313499 h 612676"/>
                <a:gd name="connsiteX6" fmla="*/ 6515 w 6559244"/>
                <a:gd name="connsiteY6" fmla="*/ 175677 h 612676"/>
                <a:gd name="connsiteX7" fmla="*/ 6516 w 6559244"/>
                <a:gd name="connsiteY7" fmla="*/ 103669 h 612676"/>
                <a:gd name="connsiteX0" fmla="*/ 6516 w 6559244"/>
                <a:gd name="connsiteY0" fmla="*/ 102082 h 611089"/>
                <a:gd name="connsiteX1" fmla="*/ 6559244 w 6559244"/>
                <a:gd name="connsiteY1" fmla="*/ 102082 h 611089"/>
                <a:gd name="connsiteX2" fmla="*/ 6559244 w 6559244"/>
                <a:gd name="connsiteY2" fmla="*/ 462628 h 611089"/>
                <a:gd name="connsiteX3" fmla="*/ 6516 w 6559244"/>
                <a:gd name="connsiteY3" fmla="*/ 462628 h 611089"/>
                <a:gd name="connsiteX4" fmla="*/ 6515 w 6559244"/>
                <a:gd name="connsiteY4" fmla="*/ 390114 h 611089"/>
                <a:gd name="connsiteX5" fmla="*/ 288032 w 6559244"/>
                <a:gd name="connsiteY5" fmla="*/ 311912 h 611089"/>
                <a:gd name="connsiteX6" fmla="*/ 6515 w 6559244"/>
                <a:gd name="connsiteY6" fmla="*/ 174090 h 611089"/>
                <a:gd name="connsiteX7" fmla="*/ 6516 w 6559244"/>
                <a:gd name="connsiteY7" fmla="*/ 102082 h 611089"/>
                <a:gd name="connsiteX0" fmla="*/ 6516 w 6559244"/>
                <a:gd name="connsiteY0" fmla="*/ 102082 h 586681"/>
                <a:gd name="connsiteX1" fmla="*/ 6559244 w 6559244"/>
                <a:gd name="connsiteY1" fmla="*/ 102082 h 586681"/>
                <a:gd name="connsiteX2" fmla="*/ 6559244 w 6559244"/>
                <a:gd name="connsiteY2" fmla="*/ 462628 h 586681"/>
                <a:gd name="connsiteX3" fmla="*/ 6516 w 6559244"/>
                <a:gd name="connsiteY3" fmla="*/ 462628 h 586681"/>
                <a:gd name="connsiteX4" fmla="*/ 6515 w 6559244"/>
                <a:gd name="connsiteY4" fmla="*/ 390114 h 586681"/>
                <a:gd name="connsiteX5" fmla="*/ 288032 w 6559244"/>
                <a:gd name="connsiteY5" fmla="*/ 311912 h 586681"/>
                <a:gd name="connsiteX6" fmla="*/ 6515 w 6559244"/>
                <a:gd name="connsiteY6" fmla="*/ 174090 h 586681"/>
                <a:gd name="connsiteX7" fmla="*/ 6516 w 6559244"/>
                <a:gd name="connsiteY7" fmla="*/ 102082 h 586681"/>
                <a:gd name="connsiteX0" fmla="*/ 6516 w 6559244"/>
                <a:gd name="connsiteY0" fmla="*/ 124307 h 608906"/>
                <a:gd name="connsiteX1" fmla="*/ 6559244 w 6559244"/>
                <a:gd name="connsiteY1" fmla="*/ 124307 h 608906"/>
                <a:gd name="connsiteX2" fmla="*/ 6559244 w 6559244"/>
                <a:gd name="connsiteY2" fmla="*/ 484853 h 608906"/>
                <a:gd name="connsiteX3" fmla="*/ 6516 w 6559244"/>
                <a:gd name="connsiteY3" fmla="*/ 484853 h 608906"/>
                <a:gd name="connsiteX4" fmla="*/ 6515 w 6559244"/>
                <a:gd name="connsiteY4" fmla="*/ 412339 h 608906"/>
                <a:gd name="connsiteX5" fmla="*/ 288032 w 6559244"/>
                <a:gd name="connsiteY5" fmla="*/ 334137 h 608906"/>
                <a:gd name="connsiteX6" fmla="*/ 6515 w 6559244"/>
                <a:gd name="connsiteY6" fmla="*/ 196315 h 608906"/>
                <a:gd name="connsiteX7" fmla="*/ 6516 w 6559244"/>
                <a:gd name="connsiteY7" fmla="*/ 124307 h 608906"/>
                <a:gd name="connsiteX0" fmla="*/ 6516 w 6559244"/>
                <a:gd name="connsiteY0" fmla="*/ 81668 h 566267"/>
                <a:gd name="connsiteX1" fmla="*/ 6559244 w 6559244"/>
                <a:gd name="connsiteY1" fmla="*/ 81668 h 566267"/>
                <a:gd name="connsiteX2" fmla="*/ 6559244 w 6559244"/>
                <a:gd name="connsiteY2" fmla="*/ 442214 h 566267"/>
                <a:gd name="connsiteX3" fmla="*/ 6516 w 6559244"/>
                <a:gd name="connsiteY3" fmla="*/ 442214 h 566267"/>
                <a:gd name="connsiteX4" fmla="*/ 6515 w 6559244"/>
                <a:gd name="connsiteY4" fmla="*/ 369700 h 566267"/>
                <a:gd name="connsiteX5" fmla="*/ 288032 w 6559244"/>
                <a:gd name="connsiteY5" fmla="*/ 291498 h 566267"/>
                <a:gd name="connsiteX6" fmla="*/ 6515 w 6559244"/>
                <a:gd name="connsiteY6" fmla="*/ 153676 h 566267"/>
                <a:gd name="connsiteX7" fmla="*/ 6516 w 6559244"/>
                <a:gd name="connsiteY7" fmla="*/ 81668 h 566267"/>
                <a:gd name="connsiteX0" fmla="*/ 6516 w 6559244"/>
                <a:gd name="connsiteY0" fmla="*/ 81668 h 520428"/>
                <a:gd name="connsiteX1" fmla="*/ 6559244 w 6559244"/>
                <a:gd name="connsiteY1" fmla="*/ 81668 h 520428"/>
                <a:gd name="connsiteX2" fmla="*/ 6559244 w 6559244"/>
                <a:gd name="connsiteY2" fmla="*/ 442214 h 520428"/>
                <a:gd name="connsiteX3" fmla="*/ 6516 w 6559244"/>
                <a:gd name="connsiteY3" fmla="*/ 442214 h 520428"/>
                <a:gd name="connsiteX4" fmla="*/ 6515 w 6559244"/>
                <a:gd name="connsiteY4" fmla="*/ 369700 h 520428"/>
                <a:gd name="connsiteX5" fmla="*/ 288032 w 6559244"/>
                <a:gd name="connsiteY5" fmla="*/ 291498 h 520428"/>
                <a:gd name="connsiteX6" fmla="*/ 6515 w 6559244"/>
                <a:gd name="connsiteY6" fmla="*/ 153676 h 520428"/>
                <a:gd name="connsiteX7" fmla="*/ 6516 w 6559244"/>
                <a:gd name="connsiteY7" fmla="*/ 81668 h 520428"/>
                <a:gd name="connsiteX0" fmla="*/ 6516 w 6559244"/>
                <a:gd name="connsiteY0" fmla="*/ 80081 h 518841"/>
                <a:gd name="connsiteX1" fmla="*/ 6559244 w 6559244"/>
                <a:gd name="connsiteY1" fmla="*/ 80081 h 518841"/>
                <a:gd name="connsiteX2" fmla="*/ 6559244 w 6559244"/>
                <a:gd name="connsiteY2" fmla="*/ 440627 h 518841"/>
                <a:gd name="connsiteX3" fmla="*/ 6516 w 6559244"/>
                <a:gd name="connsiteY3" fmla="*/ 440627 h 518841"/>
                <a:gd name="connsiteX4" fmla="*/ 6515 w 6559244"/>
                <a:gd name="connsiteY4" fmla="*/ 368113 h 518841"/>
                <a:gd name="connsiteX5" fmla="*/ 288032 w 6559244"/>
                <a:gd name="connsiteY5" fmla="*/ 289911 h 518841"/>
                <a:gd name="connsiteX6" fmla="*/ 6515 w 6559244"/>
                <a:gd name="connsiteY6" fmla="*/ 152089 h 518841"/>
                <a:gd name="connsiteX7" fmla="*/ 6516 w 6559244"/>
                <a:gd name="connsiteY7" fmla="*/ 80081 h 518841"/>
                <a:gd name="connsiteX0" fmla="*/ 6516 w 6559244"/>
                <a:gd name="connsiteY0" fmla="*/ 80080 h 518841"/>
                <a:gd name="connsiteX1" fmla="*/ 6559244 w 6559244"/>
                <a:gd name="connsiteY1" fmla="*/ 80080 h 518841"/>
                <a:gd name="connsiteX2" fmla="*/ 6559244 w 6559244"/>
                <a:gd name="connsiteY2" fmla="*/ 440626 h 518841"/>
                <a:gd name="connsiteX3" fmla="*/ 6516 w 6559244"/>
                <a:gd name="connsiteY3" fmla="*/ 440626 h 518841"/>
                <a:gd name="connsiteX4" fmla="*/ 6515 w 6559244"/>
                <a:gd name="connsiteY4" fmla="*/ 368112 h 518841"/>
                <a:gd name="connsiteX5" fmla="*/ 288032 w 6559244"/>
                <a:gd name="connsiteY5" fmla="*/ 289911 h 518841"/>
                <a:gd name="connsiteX6" fmla="*/ 6515 w 6559244"/>
                <a:gd name="connsiteY6" fmla="*/ 152088 h 518841"/>
                <a:gd name="connsiteX7" fmla="*/ 6516 w 6559244"/>
                <a:gd name="connsiteY7" fmla="*/ 80080 h 518841"/>
                <a:gd name="connsiteX0" fmla="*/ 6516 w 6559244"/>
                <a:gd name="connsiteY0" fmla="*/ 152089 h 518841"/>
                <a:gd name="connsiteX1" fmla="*/ 6559244 w 6559244"/>
                <a:gd name="connsiteY1" fmla="*/ 152089 h 518841"/>
                <a:gd name="connsiteX2" fmla="*/ 6559244 w 6559244"/>
                <a:gd name="connsiteY2" fmla="*/ 512635 h 518841"/>
                <a:gd name="connsiteX3" fmla="*/ 6516 w 6559244"/>
                <a:gd name="connsiteY3" fmla="*/ 512635 h 518841"/>
                <a:gd name="connsiteX4" fmla="*/ 6515 w 6559244"/>
                <a:gd name="connsiteY4" fmla="*/ 440121 h 518841"/>
                <a:gd name="connsiteX5" fmla="*/ 288032 w 6559244"/>
                <a:gd name="connsiteY5" fmla="*/ 289911 h 518841"/>
                <a:gd name="connsiteX6" fmla="*/ 6515 w 6559244"/>
                <a:gd name="connsiteY6" fmla="*/ 224097 h 518841"/>
                <a:gd name="connsiteX7" fmla="*/ 6516 w 6559244"/>
                <a:gd name="connsiteY7" fmla="*/ 152089 h 518841"/>
                <a:gd name="connsiteX0" fmla="*/ 6516 w 6559244"/>
                <a:gd name="connsiteY0" fmla="*/ 152089 h 714649"/>
                <a:gd name="connsiteX1" fmla="*/ 6559244 w 6559244"/>
                <a:gd name="connsiteY1" fmla="*/ 152089 h 714649"/>
                <a:gd name="connsiteX2" fmla="*/ 6559244 w 6559244"/>
                <a:gd name="connsiteY2" fmla="*/ 512635 h 714649"/>
                <a:gd name="connsiteX3" fmla="*/ 6516 w 6559244"/>
                <a:gd name="connsiteY3" fmla="*/ 512635 h 714649"/>
                <a:gd name="connsiteX4" fmla="*/ 6515 w 6559244"/>
                <a:gd name="connsiteY4" fmla="*/ 440121 h 714649"/>
                <a:gd name="connsiteX5" fmla="*/ 288032 w 6559244"/>
                <a:gd name="connsiteY5" fmla="*/ 289911 h 714649"/>
                <a:gd name="connsiteX6" fmla="*/ 6515 w 6559244"/>
                <a:gd name="connsiteY6" fmla="*/ 224097 h 714649"/>
                <a:gd name="connsiteX7" fmla="*/ 6516 w 6559244"/>
                <a:gd name="connsiteY7" fmla="*/ 152089 h 714649"/>
                <a:gd name="connsiteX0" fmla="*/ 6516 w 6559244"/>
                <a:gd name="connsiteY0" fmla="*/ 47537 h 610097"/>
                <a:gd name="connsiteX1" fmla="*/ 6559244 w 6559244"/>
                <a:gd name="connsiteY1" fmla="*/ 47537 h 610097"/>
                <a:gd name="connsiteX2" fmla="*/ 6559244 w 6559244"/>
                <a:gd name="connsiteY2" fmla="*/ 408083 h 610097"/>
                <a:gd name="connsiteX3" fmla="*/ 6516 w 6559244"/>
                <a:gd name="connsiteY3" fmla="*/ 408083 h 610097"/>
                <a:gd name="connsiteX4" fmla="*/ 6515 w 6559244"/>
                <a:gd name="connsiteY4" fmla="*/ 335569 h 610097"/>
                <a:gd name="connsiteX5" fmla="*/ 288032 w 6559244"/>
                <a:gd name="connsiteY5" fmla="*/ 185359 h 610097"/>
                <a:gd name="connsiteX6" fmla="*/ 6515 w 6559244"/>
                <a:gd name="connsiteY6" fmla="*/ 119545 h 610097"/>
                <a:gd name="connsiteX7" fmla="*/ 6516 w 6559244"/>
                <a:gd name="connsiteY7" fmla="*/ 47537 h 610097"/>
                <a:gd name="connsiteX0" fmla="*/ 6516 w 6559244"/>
                <a:gd name="connsiteY0" fmla="*/ 47537 h 523206"/>
                <a:gd name="connsiteX1" fmla="*/ 6559244 w 6559244"/>
                <a:gd name="connsiteY1" fmla="*/ 47537 h 523206"/>
                <a:gd name="connsiteX2" fmla="*/ 6559244 w 6559244"/>
                <a:gd name="connsiteY2" fmla="*/ 408083 h 523206"/>
                <a:gd name="connsiteX3" fmla="*/ 6516 w 6559244"/>
                <a:gd name="connsiteY3" fmla="*/ 408083 h 523206"/>
                <a:gd name="connsiteX4" fmla="*/ 6515 w 6559244"/>
                <a:gd name="connsiteY4" fmla="*/ 335569 h 523206"/>
                <a:gd name="connsiteX5" fmla="*/ 288032 w 6559244"/>
                <a:gd name="connsiteY5" fmla="*/ 185359 h 523206"/>
                <a:gd name="connsiteX6" fmla="*/ 6515 w 6559244"/>
                <a:gd name="connsiteY6" fmla="*/ 119545 h 523206"/>
                <a:gd name="connsiteX7" fmla="*/ 6516 w 6559244"/>
                <a:gd name="connsiteY7" fmla="*/ 47537 h 523206"/>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547678"/>
                <a:gd name="connsiteX1" fmla="*/ 6559244 w 6559244"/>
                <a:gd name="connsiteY1" fmla="*/ 0 h 547678"/>
                <a:gd name="connsiteX2" fmla="*/ 6559244 w 6559244"/>
                <a:gd name="connsiteY2" fmla="*/ 360546 h 547678"/>
                <a:gd name="connsiteX3" fmla="*/ 6516 w 6559244"/>
                <a:gd name="connsiteY3" fmla="*/ 360546 h 547678"/>
                <a:gd name="connsiteX4" fmla="*/ 6515 w 6559244"/>
                <a:gd name="connsiteY4" fmla="*/ 288032 h 547678"/>
                <a:gd name="connsiteX5" fmla="*/ 288032 w 6559244"/>
                <a:gd name="connsiteY5" fmla="*/ 209831 h 547678"/>
                <a:gd name="connsiteX6" fmla="*/ 6515 w 6559244"/>
                <a:gd name="connsiteY6" fmla="*/ 72008 h 547678"/>
                <a:gd name="connsiteX7" fmla="*/ 6516 w 6559244"/>
                <a:gd name="connsiteY7" fmla="*/ 0 h 547678"/>
                <a:gd name="connsiteX0" fmla="*/ 6516 w 6559244"/>
                <a:gd name="connsiteY0" fmla="*/ 0 h 398875"/>
                <a:gd name="connsiteX1" fmla="*/ 6559244 w 6559244"/>
                <a:gd name="connsiteY1" fmla="*/ 0 h 398875"/>
                <a:gd name="connsiteX2" fmla="*/ 6559244 w 6559244"/>
                <a:gd name="connsiteY2" fmla="*/ 360546 h 398875"/>
                <a:gd name="connsiteX3" fmla="*/ 6516 w 6559244"/>
                <a:gd name="connsiteY3" fmla="*/ 360546 h 398875"/>
                <a:gd name="connsiteX4" fmla="*/ 6515 w 6559244"/>
                <a:gd name="connsiteY4" fmla="*/ 288032 h 398875"/>
                <a:gd name="connsiteX5" fmla="*/ 288032 w 6559244"/>
                <a:gd name="connsiteY5" fmla="*/ 209831 h 398875"/>
                <a:gd name="connsiteX6" fmla="*/ 6515 w 6559244"/>
                <a:gd name="connsiteY6" fmla="*/ 72008 h 398875"/>
                <a:gd name="connsiteX7" fmla="*/ 6516 w 6559244"/>
                <a:gd name="connsiteY7" fmla="*/ 0 h 398875"/>
                <a:gd name="connsiteX0" fmla="*/ 6516 w 6559244"/>
                <a:gd name="connsiteY0" fmla="*/ 10800 h 371346"/>
                <a:gd name="connsiteX1" fmla="*/ 6559244 w 6559244"/>
                <a:gd name="connsiteY1" fmla="*/ 10800 h 371346"/>
                <a:gd name="connsiteX2" fmla="*/ 6559244 w 6559244"/>
                <a:gd name="connsiteY2" fmla="*/ 371346 h 371346"/>
                <a:gd name="connsiteX3" fmla="*/ 6516 w 6559244"/>
                <a:gd name="connsiteY3" fmla="*/ 371346 h 371346"/>
                <a:gd name="connsiteX4" fmla="*/ 6515 w 6559244"/>
                <a:gd name="connsiteY4" fmla="*/ 298832 h 371346"/>
                <a:gd name="connsiteX5" fmla="*/ 288032 w 6559244"/>
                <a:gd name="connsiteY5" fmla="*/ 148623 h 371346"/>
                <a:gd name="connsiteX6" fmla="*/ 6515 w 6559244"/>
                <a:gd name="connsiteY6" fmla="*/ 82808 h 371346"/>
                <a:gd name="connsiteX7" fmla="*/ 6516 w 6559244"/>
                <a:gd name="connsiteY7" fmla="*/ 10800 h 371346"/>
                <a:gd name="connsiteX0" fmla="*/ 6516 w 6559244"/>
                <a:gd name="connsiteY0" fmla="*/ 10800 h 428700"/>
                <a:gd name="connsiteX1" fmla="*/ 6559244 w 6559244"/>
                <a:gd name="connsiteY1" fmla="*/ 10800 h 428700"/>
                <a:gd name="connsiteX2" fmla="*/ 6559244 w 6559244"/>
                <a:gd name="connsiteY2" fmla="*/ 371346 h 428700"/>
                <a:gd name="connsiteX3" fmla="*/ 6516 w 6559244"/>
                <a:gd name="connsiteY3" fmla="*/ 371346 h 428700"/>
                <a:gd name="connsiteX4" fmla="*/ 6515 w 6559244"/>
                <a:gd name="connsiteY4" fmla="*/ 298832 h 428700"/>
                <a:gd name="connsiteX5" fmla="*/ 288032 w 6559244"/>
                <a:gd name="connsiteY5" fmla="*/ 148623 h 428700"/>
                <a:gd name="connsiteX6" fmla="*/ 6515 w 6559244"/>
                <a:gd name="connsiteY6" fmla="*/ 82808 h 428700"/>
                <a:gd name="connsiteX7" fmla="*/ 6516 w 6559244"/>
                <a:gd name="connsiteY7" fmla="*/ 10800 h 428700"/>
                <a:gd name="connsiteX0" fmla="*/ 6516 w 6559244"/>
                <a:gd name="connsiteY0" fmla="*/ 10800 h 495350"/>
                <a:gd name="connsiteX1" fmla="*/ 6559244 w 6559244"/>
                <a:gd name="connsiteY1" fmla="*/ 10800 h 495350"/>
                <a:gd name="connsiteX2" fmla="*/ 6559244 w 6559244"/>
                <a:gd name="connsiteY2" fmla="*/ 371346 h 495350"/>
                <a:gd name="connsiteX3" fmla="*/ 6516 w 6559244"/>
                <a:gd name="connsiteY3" fmla="*/ 371346 h 495350"/>
                <a:gd name="connsiteX4" fmla="*/ 6515 w 6559244"/>
                <a:gd name="connsiteY4" fmla="*/ 298832 h 495350"/>
                <a:gd name="connsiteX5" fmla="*/ 288032 w 6559244"/>
                <a:gd name="connsiteY5" fmla="*/ 148623 h 495350"/>
                <a:gd name="connsiteX6" fmla="*/ 6515 w 6559244"/>
                <a:gd name="connsiteY6" fmla="*/ 82808 h 495350"/>
                <a:gd name="connsiteX7" fmla="*/ 6516 w 6559244"/>
                <a:gd name="connsiteY7" fmla="*/ 10800 h 495350"/>
                <a:gd name="connsiteX0" fmla="*/ 6516 w 6559244"/>
                <a:gd name="connsiteY0" fmla="*/ 14546 h 499096"/>
                <a:gd name="connsiteX1" fmla="*/ 6559244 w 6559244"/>
                <a:gd name="connsiteY1" fmla="*/ 14546 h 499096"/>
                <a:gd name="connsiteX2" fmla="*/ 6559244 w 6559244"/>
                <a:gd name="connsiteY2" fmla="*/ 375092 h 499096"/>
                <a:gd name="connsiteX3" fmla="*/ 6516 w 6559244"/>
                <a:gd name="connsiteY3" fmla="*/ 375092 h 499096"/>
                <a:gd name="connsiteX4" fmla="*/ 6515 w 6559244"/>
                <a:gd name="connsiteY4" fmla="*/ 302578 h 499096"/>
                <a:gd name="connsiteX5" fmla="*/ 288032 w 6559244"/>
                <a:gd name="connsiteY5" fmla="*/ 152369 h 499096"/>
                <a:gd name="connsiteX6" fmla="*/ 6515 w 6559244"/>
                <a:gd name="connsiteY6" fmla="*/ 86554 h 499096"/>
                <a:gd name="connsiteX7" fmla="*/ 6516 w 6559244"/>
                <a:gd name="connsiteY7" fmla="*/ 14546 h 499096"/>
                <a:gd name="connsiteX0" fmla="*/ 6516 w 6559244"/>
                <a:gd name="connsiteY0" fmla="*/ 0 h 556558"/>
                <a:gd name="connsiteX1" fmla="*/ 6559244 w 6559244"/>
                <a:gd name="connsiteY1" fmla="*/ 0 h 556558"/>
                <a:gd name="connsiteX2" fmla="*/ 6559244 w 6559244"/>
                <a:gd name="connsiteY2" fmla="*/ 360546 h 556558"/>
                <a:gd name="connsiteX3" fmla="*/ 6516 w 6559244"/>
                <a:gd name="connsiteY3" fmla="*/ 360546 h 556558"/>
                <a:gd name="connsiteX4" fmla="*/ 6515 w 6559244"/>
                <a:gd name="connsiteY4" fmla="*/ 288032 h 556558"/>
                <a:gd name="connsiteX5" fmla="*/ 288032 w 6559244"/>
                <a:gd name="connsiteY5" fmla="*/ 209831 h 556558"/>
                <a:gd name="connsiteX6" fmla="*/ 6515 w 6559244"/>
                <a:gd name="connsiteY6" fmla="*/ 72008 h 556558"/>
                <a:gd name="connsiteX7" fmla="*/ 6516 w 6559244"/>
                <a:gd name="connsiteY7" fmla="*/ 0 h 55655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6516 w 6559244"/>
                <a:gd name="connsiteY0" fmla="*/ 15910 h 572468"/>
                <a:gd name="connsiteX1" fmla="*/ 6559244 w 6559244"/>
                <a:gd name="connsiteY1" fmla="*/ 15910 h 572468"/>
                <a:gd name="connsiteX2" fmla="*/ 6559244 w 6559244"/>
                <a:gd name="connsiteY2" fmla="*/ 376456 h 572468"/>
                <a:gd name="connsiteX3" fmla="*/ 6516 w 6559244"/>
                <a:gd name="connsiteY3" fmla="*/ 376456 h 572468"/>
                <a:gd name="connsiteX4" fmla="*/ 6515 w 6559244"/>
                <a:gd name="connsiteY4" fmla="*/ 303942 h 572468"/>
                <a:gd name="connsiteX5" fmla="*/ 288032 w 6559244"/>
                <a:gd name="connsiteY5" fmla="*/ 225741 h 572468"/>
                <a:gd name="connsiteX6" fmla="*/ 6515 w 6559244"/>
                <a:gd name="connsiteY6" fmla="*/ 87918 h 572468"/>
                <a:gd name="connsiteX7" fmla="*/ 6516 w 6559244"/>
                <a:gd name="connsiteY7" fmla="*/ 15910 h 572468"/>
                <a:gd name="connsiteX0" fmla="*/ 1 w 6552729"/>
                <a:gd name="connsiteY0" fmla="*/ 15910 h 572468"/>
                <a:gd name="connsiteX1" fmla="*/ 6552729 w 6552729"/>
                <a:gd name="connsiteY1" fmla="*/ 15910 h 572468"/>
                <a:gd name="connsiteX2" fmla="*/ 6552729 w 6552729"/>
                <a:gd name="connsiteY2" fmla="*/ 376456 h 572468"/>
                <a:gd name="connsiteX3" fmla="*/ 1 w 6552729"/>
                <a:gd name="connsiteY3" fmla="*/ 376456 h 572468"/>
                <a:gd name="connsiteX4" fmla="*/ 0 w 6552729"/>
                <a:gd name="connsiteY4" fmla="*/ 303942 h 572468"/>
                <a:gd name="connsiteX5" fmla="*/ 281517 w 6552729"/>
                <a:gd name="connsiteY5" fmla="*/ 225741 h 572468"/>
                <a:gd name="connsiteX6" fmla="*/ 0 w 6552729"/>
                <a:gd name="connsiteY6" fmla="*/ 87918 h 572468"/>
                <a:gd name="connsiteX7" fmla="*/ 1 w 6552729"/>
                <a:gd name="connsiteY7" fmla="*/ 15910 h 572468"/>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15910 h 490340"/>
                <a:gd name="connsiteX1" fmla="*/ 6552729 w 6552729"/>
                <a:gd name="connsiteY1" fmla="*/ 15910 h 490340"/>
                <a:gd name="connsiteX2" fmla="*/ 6552729 w 6552729"/>
                <a:gd name="connsiteY2" fmla="*/ 376456 h 490340"/>
                <a:gd name="connsiteX3" fmla="*/ 1 w 6552729"/>
                <a:gd name="connsiteY3" fmla="*/ 376456 h 490340"/>
                <a:gd name="connsiteX4" fmla="*/ 0 w 6552729"/>
                <a:gd name="connsiteY4" fmla="*/ 303942 h 490340"/>
                <a:gd name="connsiteX5" fmla="*/ 281517 w 6552729"/>
                <a:gd name="connsiteY5" fmla="*/ 225741 h 490340"/>
                <a:gd name="connsiteX6" fmla="*/ 0 w 6552729"/>
                <a:gd name="connsiteY6" fmla="*/ 87918 h 490340"/>
                <a:gd name="connsiteX7" fmla="*/ 1 w 6552729"/>
                <a:gd name="connsiteY7" fmla="*/ 15910 h 490340"/>
                <a:gd name="connsiteX0" fmla="*/ 1 w 6552729"/>
                <a:gd name="connsiteY0" fmla="*/ 74424 h 548854"/>
                <a:gd name="connsiteX1" fmla="*/ 6552729 w 6552729"/>
                <a:gd name="connsiteY1" fmla="*/ 74424 h 548854"/>
                <a:gd name="connsiteX2" fmla="*/ 6552729 w 6552729"/>
                <a:gd name="connsiteY2" fmla="*/ 434970 h 548854"/>
                <a:gd name="connsiteX3" fmla="*/ 1 w 6552729"/>
                <a:gd name="connsiteY3" fmla="*/ 434970 h 548854"/>
                <a:gd name="connsiteX4" fmla="*/ 0 w 6552729"/>
                <a:gd name="connsiteY4" fmla="*/ 362456 h 548854"/>
                <a:gd name="connsiteX5" fmla="*/ 281517 w 6552729"/>
                <a:gd name="connsiteY5" fmla="*/ 284255 h 548854"/>
                <a:gd name="connsiteX6" fmla="*/ 0 w 6552729"/>
                <a:gd name="connsiteY6" fmla="*/ 146432 h 548854"/>
                <a:gd name="connsiteX7" fmla="*/ 1 w 6552729"/>
                <a:gd name="connsiteY7" fmla="*/ 74424 h 548854"/>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13318 h 587748"/>
                <a:gd name="connsiteX1" fmla="*/ 6552729 w 6552729"/>
                <a:gd name="connsiteY1" fmla="*/ 113318 h 587748"/>
                <a:gd name="connsiteX2" fmla="*/ 6552729 w 6552729"/>
                <a:gd name="connsiteY2" fmla="*/ 473864 h 587748"/>
                <a:gd name="connsiteX3" fmla="*/ 1 w 6552729"/>
                <a:gd name="connsiteY3" fmla="*/ 473864 h 587748"/>
                <a:gd name="connsiteX4" fmla="*/ 0 w 6552729"/>
                <a:gd name="connsiteY4" fmla="*/ 401350 h 587748"/>
                <a:gd name="connsiteX5" fmla="*/ 281517 w 6552729"/>
                <a:gd name="connsiteY5" fmla="*/ 323149 h 587748"/>
                <a:gd name="connsiteX6" fmla="*/ 0 w 6552729"/>
                <a:gd name="connsiteY6" fmla="*/ 185326 h 587748"/>
                <a:gd name="connsiteX7" fmla="*/ 1 w 6552729"/>
                <a:gd name="connsiteY7" fmla="*/ 113318 h 587748"/>
                <a:gd name="connsiteX0" fmla="*/ 1 w 6552729"/>
                <a:gd name="connsiteY0" fmla="*/ 134973 h 609403"/>
                <a:gd name="connsiteX1" fmla="*/ 6552729 w 6552729"/>
                <a:gd name="connsiteY1" fmla="*/ 134973 h 609403"/>
                <a:gd name="connsiteX2" fmla="*/ 6552729 w 6552729"/>
                <a:gd name="connsiteY2" fmla="*/ 495519 h 609403"/>
                <a:gd name="connsiteX3" fmla="*/ 1 w 6552729"/>
                <a:gd name="connsiteY3" fmla="*/ 495519 h 609403"/>
                <a:gd name="connsiteX4" fmla="*/ 0 w 6552729"/>
                <a:gd name="connsiteY4" fmla="*/ 423005 h 609403"/>
                <a:gd name="connsiteX5" fmla="*/ 281517 w 6552729"/>
                <a:gd name="connsiteY5" fmla="*/ 344804 h 609403"/>
                <a:gd name="connsiteX6" fmla="*/ 0 w 6552729"/>
                <a:gd name="connsiteY6" fmla="*/ 206981 h 609403"/>
                <a:gd name="connsiteX7" fmla="*/ 1 w 6552729"/>
                <a:gd name="connsiteY7" fmla="*/ 134973 h 609403"/>
                <a:gd name="connsiteX0" fmla="*/ 1 w 6552729"/>
                <a:gd name="connsiteY0" fmla="*/ 134973 h 618333"/>
                <a:gd name="connsiteX1" fmla="*/ 6552729 w 6552729"/>
                <a:gd name="connsiteY1" fmla="*/ 134973 h 618333"/>
                <a:gd name="connsiteX2" fmla="*/ 6552729 w 6552729"/>
                <a:gd name="connsiteY2" fmla="*/ 495519 h 618333"/>
                <a:gd name="connsiteX3" fmla="*/ 1 w 6552729"/>
                <a:gd name="connsiteY3" fmla="*/ 495519 h 618333"/>
                <a:gd name="connsiteX4" fmla="*/ 0 w 6552729"/>
                <a:gd name="connsiteY4" fmla="*/ 423005 h 618333"/>
                <a:gd name="connsiteX5" fmla="*/ 281517 w 6552729"/>
                <a:gd name="connsiteY5" fmla="*/ 344804 h 618333"/>
                <a:gd name="connsiteX6" fmla="*/ 0 w 6552729"/>
                <a:gd name="connsiteY6" fmla="*/ 206981 h 618333"/>
                <a:gd name="connsiteX7" fmla="*/ 1 w 6552729"/>
                <a:gd name="connsiteY7" fmla="*/ 134973 h 618333"/>
                <a:gd name="connsiteX0" fmla="*/ 1 w 6552729"/>
                <a:gd name="connsiteY0" fmla="*/ 134973 h 629644"/>
                <a:gd name="connsiteX1" fmla="*/ 6552729 w 6552729"/>
                <a:gd name="connsiteY1" fmla="*/ 134973 h 629644"/>
                <a:gd name="connsiteX2" fmla="*/ 6552729 w 6552729"/>
                <a:gd name="connsiteY2" fmla="*/ 495519 h 629644"/>
                <a:gd name="connsiteX3" fmla="*/ 1 w 6552729"/>
                <a:gd name="connsiteY3" fmla="*/ 495519 h 629644"/>
                <a:gd name="connsiteX4" fmla="*/ 0 w 6552729"/>
                <a:gd name="connsiteY4" fmla="*/ 423005 h 629644"/>
                <a:gd name="connsiteX5" fmla="*/ 281517 w 6552729"/>
                <a:gd name="connsiteY5" fmla="*/ 344804 h 629644"/>
                <a:gd name="connsiteX6" fmla="*/ 0 w 6552729"/>
                <a:gd name="connsiteY6" fmla="*/ 206981 h 629644"/>
                <a:gd name="connsiteX7" fmla="*/ 1 w 6552729"/>
                <a:gd name="connsiteY7" fmla="*/ 134973 h 629644"/>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281517 w 6552729"/>
                <a:gd name="connsiteY5" fmla="*/ 344804 h 633811"/>
                <a:gd name="connsiteX6" fmla="*/ 0 w 6552729"/>
                <a:gd name="connsiteY6" fmla="*/ 206981 h 633811"/>
                <a:gd name="connsiteX7" fmla="*/ 1 w 6552729"/>
                <a:gd name="connsiteY7" fmla="*/ 134973 h 633811"/>
                <a:gd name="connsiteX0" fmla="*/ 1 w 6552729"/>
                <a:gd name="connsiteY0" fmla="*/ 134973 h 633811"/>
                <a:gd name="connsiteX1" fmla="*/ 6552729 w 6552729"/>
                <a:gd name="connsiteY1" fmla="*/ 134973 h 633811"/>
                <a:gd name="connsiteX2" fmla="*/ 6552729 w 6552729"/>
                <a:gd name="connsiteY2" fmla="*/ 495519 h 633811"/>
                <a:gd name="connsiteX3" fmla="*/ 1 w 6552729"/>
                <a:gd name="connsiteY3" fmla="*/ 495519 h 633811"/>
                <a:gd name="connsiteX4" fmla="*/ 0 w 6552729"/>
                <a:gd name="connsiteY4" fmla="*/ 423005 h 633811"/>
                <a:gd name="connsiteX5" fmla="*/ 353525 w 6552729"/>
                <a:gd name="connsiteY5" fmla="*/ 344804 h 633811"/>
                <a:gd name="connsiteX6" fmla="*/ 0 w 6552729"/>
                <a:gd name="connsiteY6" fmla="*/ 206981 h 633811"/>
                <a:gd name="connsiteX7" fmla="*/ 1 w 6552729"/>
                <a:gd name="connsiteY7" fmla="*/ 134973 h 633811"/>
                <a:gd name="connsiteX0" fmla="*/ 1 w 6552729"/>
                <a:gd name="connsiteY0" fmla="*/ 109003 h 607841"/>
                <a:gd name="connsiteX1" fmla="*/ 6552729 w 6552729"/>
                <a:gd name="connsiteY1" fmla="*/ 109003 h 607841"/>
                <a:gd name="connsiteX2" fmla="*/ 6552729 w 6552729"/>
                <a:gd name="connsiteY2" fmla="*/ 469549 h 607841"/>
                <a:gd name="connsiteX3" fmla="*/ 1 w 6552729"/>
                <a:gd name="connsiteY3" fmla="*/ 469549 h 607841"/>
                <a:gd name="connsiteX4" fmla="*/ 0 w 6552729"/>
                <a:gd name="connsiteY4" fmla="*/ 397035 h 607841"/>
                <a:gd name="connsiteX5" fmla="*/ 353525 w 6552729"/>
                <a:gd name="connsiteY5" fmla="*/ 318834 h 607841"/>
                <a:gd name="connsiteX6" fmla="*/ 0 w 6552729"/>
                <a:gd name="connsiteY6" fmla="*/ 181011 h 607841"/>
                <a:gd name="connsiteX7" fmla="*/ 1 w 6552729"/>
                <a:gd name="connsiteY7" fmla="*/ 109003 h 607841"/>
                <a:gd name="connsiteX0" fmla="*/ 1 w 6552729"/>
                <a:gd name="connsiteY0" fmla="*/ 109003 h 578671"/>
                <a:gd name="connsiteX1" fmla="*/ 6552729 w 6552729"/>
                <a:gd name="connsiteY1" fmla="*/ 109003 h 578671"/>
                <a:gd name="connsiteX2" fmla="*/ 6552729 w 6552729"/>
                <a:gd name="connsiteY2" fmla="*/ 469549 h 578671"/>
                <a:gd name="connsiteX3" fmla="*/ 1 w 6552729"/>
                <a:gd name="connsiteY3" fmla="*/ 469549 h 578671"/>
                <a:gd name="connsiteX4" fmla="*/ 0 w 6552729"/>
                <a:gd name="connsiteY4" fmla="*/ 397035 h 578671"/>
                <a:gd name="connsiteX5" fmla="*/ 353525 w 6552729"/>
                <a:gd name="connsiteY5" fmla="*/ 318834 h 578671"/>
                <a:gd name="connsiteX6" fmla="*/ 0 w 6552729"/>
                <a:gd name="connsiteY6" fmla="*/ 181011 h 578671"/>
                <a:gd name="connsiteX7" fmla="*/ 1 w 6552729"/>
                <a:gd name="connsiteY7" fmla="*/ 109003 h 578671"/>
                <a:gd name="connsiteX0" fmla="*/ 1 w 6552729"/>
                <a:gd name="connsiteY0" fmla="*/ 109003 h 566169"/>
                <a:gd name="connsiteX1" fmla="*/ 6552729 w 6552729"/>
                <a:gd name="connsiteY1" fmla="*/ 109003 h 566169"/>
                <a:gd name="connsiteX2" fmla="*/ 6552729 w 6552729"/>
                <a:gd name="connsiteY2" fmla="*/ 469549 h 566169"/>
                <a:gd name="connsiteX3" fmla="*/ 1 w 6552729"/>
                <a:gd name="connsiteY3" fmla="*/ 469549 h 566169"/>
                <a:gd name="connsiteX4" fmla="*/ 0 w 6552729"/>
                <a:gd name="connsiteY4" fmla="*/ 397035 h 566169"/>
                <a:gd name="connsiteX5" fmla="*/ 353525 w 6552729"/>
                <a:gd name="connsiteY5" fmla="*/ 318834 h 566169"/>
                <a:gd name="connsiteX6" fmla="*/ 0 w 6552729"/>
                <a:gd name="connsiteY6" fmla="*/ 181011 h 566169"/>
                <a:gd name="connsiteX7" fmla="*/ 1 w 6552729"/>
                <a:gd name="connsiteY7" fmla="*/ 109003 h 566169"/>
                <a:gd name="connsiteX0" fmla="*/ 1 w 6552729"/>
                <a:gd name="connsiteY0" fmla="*/ 99701 h 556867"/>
                <a:gd name="connsiteX1" fmla="*/ 6552729 w 6552729"/>
                <a:gd name="connsiteY1" fmla="*/ 99701 h 556867"/>
                <a:gd name="connsiteX2" fmla="*/ 6552729 w 6552729"/>
                <a:gd name="connsiteY2" fmla="*/ 460247 h 556867"/>
                <a:gd name="connsiteX3" fmla="*/ 1 w 6552729"/>
                <a:gd name="connsiteY3" fmla="*/ 460247 h 556867"/>
                <a:gd name="connsiteX4" fmla="*/ 0 w 6552729"/>
                <a:gd name="connsiteY4" fmla="*/ 387733 h 556867"/>
                <a:gd name="connsiteX5" fmla="*/ 353525 w 6552729"/>
                <a:gd name="connsiteY5" fmla="*/ 309532 h 556867"/>
                <a:gd name="connsiteX6" fmla="*/ 0 w 6552729"/>
                <a:gd name="connsiteY6" fmla="*/ 171709 h 556867"/>
                <a:gd name="connsiteX7" fmla="*/ 1 w 6552729"/>
                <a:gd name="connsiteY7" fmla="*/ 99701 h 556867"/>
                <a:gd name="connsiteX0" fmla="*/ 1 w 6552729"/>
                <a:gd name="connsiteY0" fmla="*/ 119545 h 576711"/>
                <a:gd name="connsiteX1" fmla="*/ 6552729 w 6552729"/>
                <a:gd name="connsiteY1" fmla="*/ 119545 h 576711"/>
                <a:gd name="connsiteX2" fmla="*/ 6552729 w 6552729"/>
                <a:gd name="connsiteY2" fmla="*/ 480091 h 576711"/>
                <a:gd name="connsiteX3" fmla="*/ 1 w 6552729"/>
                <a:gd name="connsiteY3" fmla="*/ 480091 h 576711"/>
                <a:gd name="connsiteX4" fmla="*/ 0 w 6552729"/>
                <a:gd name="connsiteY4" fmla="*/ 407577 h 576711"/>
                <a:gd name="connsiteX5" fmla="*/ 353525 w 6552729"/>
                <a:gd name="connsiteY5" fmla="*/ 329376 h 576711"/>
                <a:gd name="connsiteX6" fmla="*/ 0 w 6552729"/>
                <a:gd name="connsiteY6" fmla="*/ 191553 h 576711"/>
                <a:gd name="connsiteX7" fmla="*/ 1 w 6552729"/>
                <a:gd name="connsiteY7" fmla="*/ 119545 h 576711"/>
                <a:gd name="connsiteX0" fmla="*/ 1 w 6552729"/>
                <a:gd name="connsiteY0" fmla="*/ 119545 h 617167"/>
                <a:gd name="connsiteX1" fmla="*/ 6552729 w 6552729"/>
                <a:gd name="connsiteY1" fmla="*/ 119545 h 617167"/>
                <a:gd name="connsiteX2" fmla="*/ 6552729 w 6552729"/>
                <a:gd name="connsiteY2" fmla="*/ 480091 h 617167"/>
                <a:gd name="connsiteX3" fmla="*/ 1 w 6552729"/>
                <a:gd name="connsiteY3" fmla="*/ 480091 h 617167"/>
                <a:gd name="connsiteX4" fmla="*/ 0 w 6552729"/>
                <a:gd name="connsiteY4" fmla="*/ 407577 h 617167"/>
                <a:gd name="connsiteX5" fmla="*/ 353525 w 6552729"/>
                <a:gd name="connsiteY5" fmla="*/ 329376 h 617167"/>
                <a:gd name="connsiteX6" fmla="*/ 0 w 6552729"/>
                <a:gd name="connsiteY6" fmla="*/ 191553 h 617167"/>
                <a:gd name="connsiteX7" fmla="*/ 1 w 6552729"/>
                <a:gd name="connsiteY7" fmla="*/ 119545 h 617167"/>
                <a:gd name="connsiteX0" fmla="*/ 1 w 6554071"/>
                <a:gd name="connsiteY0" fmla="*/ 119545 h 617167"/>
                <a:gd name="connsiteX1" fmla="*/ 6552729 w 6554071"/>
                <a:gd name="connsiteY1" fmla="*/ 119545 h 617167"/>
                <a:gd name="connsiteX2" fmla="*/ 6554071 w 6554071"/>
                <a:gd name="connsiteY2" fmla="*/ 318363 h 617167"/>
                <a:gd name="connsiteX3" fmla="*/ 6552729 w 6554071"/>
                <a:gd name="connsiteY3" fmla="*/ 480091 h 617167"/>
                <a:gd name="connsiteX4" fmla="*/ 1 w 6554071"/>
                <a:gd name="connsiteY4" fmla="*/ 480091 h 617167"/>
                <a:gd name="connsiteX5" fmla="*/ 0 w 6554071"/>
                <a:gd name="connsiteY5" fmla="*/ 407577 h 617167"/>
                <a:gd name="connsiteX6" fmla="*/ 353525 w 6554071"/>
                <a:gd name="connsiteY6" fmla="*/ 329376 h 617167"/>
                <a:gd name="connsiteX7" fmla="*/ 0 w 6554071"/>
                <a:gd name="connsiteY7" fmla="*/ 191553 h 617167"/>
                <a:gd name="connsiteX8" fmla="*/ 1 w 6554071"/>
                <a:gd name="connsiteY8" fmla="*/ 119545 h 617167"/>
                <a:gd name="connsiteX0" fmla="*/ 1 w 7645074"/>
                <a:gd name="connsiteY0" fmla="*/ 119545 h 617167"/>
                <a:gd name="connsiteX1" fmla="*/ 6552729 w 7645074"/>
                <a:gd name="connsiteY1" fmla="*/ 119545 h 617167"/>
                <a:gd name="connsiteX2" fmla="*/ 6554071 w 7645074"/>
                <a:gd name="connsiteY2" fmla="*/ 187394 h 617167"/>
                <a:gd name="connsiteX3" fmla="*/ 6554071 w 7645074"/>
                <a:gd name="connsiteY3" fmla="*/ 318363 h 617167"/>
                <a:gd name="connsiteX4" fmla="*/ 6552729 w 7645074"/>
                <a:gd name="connsiteY4" fmla="*/ 480091 h 617167"/>
                <a:gd name="connsiteX5" fmla="*/ 1 w 7645074"/>
                <a:gd name="connsiteY5" fmla="*/ 480091 h 617167"/>
                <a:gd name="connsiteX6" fmla="*/ 0 w 7645074"/>
                <a:gd name="connsiteY6" fmla="*/ 407577 h 617167"/>
                <a:gd name="connsiteX7" fmla="*/ 353525 w 7645074"/>
                <a:gd name="connsiteY7" fmla="*/ 329376 h 617167"/>
                <a:gd name="connsiteX8" fmla="*/ 0 w 7645074"/>
                <a:gd name="connsiteY8" fmla="*/ 191553 h 617167"/>
                <a:gd name="connsiteX9" fmla="*/ 1 w 7645074"/>
                <a:gd name="connsiteY9"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2729 w 6554295"/>
                <a:gd name="connsiteY4" fmla="*/ 480091 h 617167"/>
                <a:gd name="connsiteX5" fmla="*/ 1 w 6554295"/>
                <a:gd name="connsiteY5" fmla="*/ 480091 h 617167"/>
                <a:gd name="connsiteX6" fmla="*/ 0 w 6554295"/>
                <a:gd name="connsiteY6" fmla="*/ 407577 h 617167"/>
                <a:gd name="connsiteX7" fmla="*/ 353525 w 6554295"/>
                <a:gd name="connsiteY7" fmla="*/ 329376 h 617167"/>
                <a:gd name="connsiteX8" fmla="*/ 0 w 6554295"/>
                <a:gd name="connsiteY8" fmla="*/ 191553 h 617167"/>
                <a:gd name="connsiteX9" fmla="*/ 1 w 6554295"/>
                <a:gd name="connsiteY9" fmla="*/ 119545 h 617167"/>
                <a:gd name="connsiteX0" fmla="*/ 1 w 7644654"/>
                <a:gd name="connsiteY0" fmla="*/ 119545 h 617167"/>
                <a:gd name="connsiteX1" fmla="*/ 6552729 w 7644654"/>
                <a:gd name="connsiteY1" fmla="*/ 119545 h 617167"/>
                <a:gd name="connsiteX2" fmla="*/ 6554071 w 7644654"/>
                <a:gd name="connsiteY2" fmla="*/ 187394 h 617167"/>
                <a:gd name="connsiteX3" fmla="*/ 6554071 w 7644654"/>
                <a:gd name="connsiteY3" fmla="*/ 318363 h 617167"/>
                <a:gd name="connsiteX4" fmla="*/ 6551550 w 7644654"/>
                <a:gd name="connsiteY4" fmla="*/ 413613 h 617167"/>
                <a:gd name="connsiteX5" fmla="*/ 6552729 w 7644654"/>
                <a:gd name="connsiteY5" fmla="*/ 480091 h 617167"/>
                <a:gd name="connsiteX6" fmla="*/ 1 w 7644654"/>
                <a:gd name="connsiteY6" fmla="*/ 480091 h 617167"/>
                <a:gd name="connsiteX7" fmla="*/ 0 w 7644654"/>
                <a:gd name="connsiteY7" fmla="*/ 407577 h 617167"/>
                <a:gd name="connsiteX8" fmla="*/ 353525 w 7644654"/>
                <a:gd name="connsiteY8" fmla="*/ 329376 h 617167"/>
                <a:gd name="connsiteX9" fmla="*/ 0 w 7644654"/>
                <a:gd name="connsiteY9" fmla="*/ 191553 h 617167"/>
                <a:gd name="connsiteX10" fmla="*/ 1 w 7644654"/>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54071 w 6554295"/>
                <a:gd name="connsiteY3" fmla="*/ 318363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295"/>
                <a:gd name="connsiteY0" fmla="*/ 119545 h 617167"/>
                <a:gd name="connsiteX1" fmla="*/ 6552729 w 6554295"/>
                <a:gd name="connsiteY1" fmla="*/ 119545 h 617167"/>
                <a:gd name="connsiteX2" fmla="*/ 6554071 w 6554295"/>
                <a:gd name="connsiteY2" fmla="*/ 187394 h 617167"/>
                <a:gd name="connsiteX3" fmla="*/ 6546562 w 6554295"/>
                <a:gd name="connsiteY3" fmla="*/ 354776 h 617167"/>
                <a:gd name="connsiteX4" fmla="*/ 6551550 w 6554295"/>
                <a:gd name="connsiteY4" fmla="*/ 413613 h 617167"/>
                <a:gd name="connsiteX5" fmla="*/ 6552729 w 6554295"/>
                <a:gd name="connsiteY5" fmla="*/ 480091 h 617167"/>
                <a:gd name="connsiteX6" fmla="*/ 1 w 6554295"/>
                <a:gd name="connsiteY6" fmla="*/ 480091 h 617167"/>
                <a:gd name="connsiteX7" fmla="*/ 0 w 6554295"/>
                <a:gd name="connsiteY7" fmla="*/ 407577 h 617167"/>
                <a:gd name="connsiteX8" fmla="*/ 353525 w 6554295"/>
                <a:gd name="connsiteY8" fmla="*/ 329376 h 617167"/>
                <a:gd name="connsiteX9" fmla="*/ 0 w 6554295"/>
                <a:gd name="connsiteY9" fmla="*/ 191553 h 617167"/>
                <a:gd name="connsiteX10" fmla="*/ 1 w 6554295"/>
                <a:gd name="connsiteY10"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413613 h 617167"/>
                <a:gd name="connsiteX4" fmla="*/ 6552729 w 6554071"/>
                <a:gd name="connsiteY4" fmla="*/ 480091 h 617167"/>
                <a:gd name="connsiteX5" fmla="*/ 1 w 6554071"/>
                <a:gd name="connsiteY5" fmla="*/ 480091 h 617167"/>
                <a:gd name="connsiteX6" fmla="*/ 0 w 6554071"/>
                <a:gd name="connsiteY6" fmla="*/ 407577 h 617167"/>
                <a:gd name="connsiteX7" fmla="*/ 353525 w 6554071"/>
                <a:gd name="connsiteY7" fmla="*/ 329376 h 617167"/>
                <a:gd name="connsiteX8" fmla="*/ 0 w 6554071"/>
                <a:gd name="connsiteY8" fmla="*/ 191553 h 617167"/>
                <a:gd name="connsiteX9" fmla="*/ 1 w 6554071"/>
                <a:gd name="connsiteY9" fmla="*/ 119545 h 617167"/>
                <a:gd name="connsiteX0" fmla="*/ 1 w 6554071"/>
                <a:gd name="connsiteY0" fmla="*/ 119545 h 617167"/>
                <a:gd name="connsiteX1" fmla="*/ 6552729 w 6554071"/>
                <a:gd name="connsiteY1" fmla="*/ 119545 h 617167"/>
                <a:gd name="connsiteX2" fmla="*/ 6554071 w 6554071"/>
                <a:gd name="connsiteY2" fmla="*/ 187394 h 617167"/>
                <a:gd name="connsiteX3" fmla="*/ 6551550 w 6554071"/>
                <a:gd name="connsiteY3" fmla="*/ 287406 h 617167"/>
                <a:gd name="connsiteX4" fmla="*/ 6551550 w 6554071"/>
                <a:gd name="connsiteY4" fmla="*/ 413613 h 617167"/>
                <a:gd name="connsiteX5" fmla="*/ 6552729 w 6554071"/>
                <a:gd name="connsiteY5" fmla="*/ 480091 h 617167"/>
                <a:gd name="connsiteX6" fmla="*/ 1 w 6554071"/>
                <a:gd name="connsiteY6" fmla="*/ 480091 h 617167"/>
                <a:gd name="connsiteX7" fmla="*/ 0 w 6554071"/>
                <a:gd name="connsiteY7" fmla="*/ 407577 h 617167"/>
                <a:gd name="connsiteX8" fmla="*/ 353525 w 6554071"/>
                <a:gd name="connsiteY8" fmla="*/ 329376 h 617167"/>
                <a:gd name="connsiteX9" fmla="*/ 0 w 6554071"/>
                <a:gd name="connsiteY9" fmla="*/ 191553 h 617167"/>
                <a:gd name="connsiteX10" fmla="*/ 1 w 6554071"/>
                <a:gd name="connsiteY10" fmla="*/ 119545 h 617167"/>
                <a:gd name="connsiteX0" fmla="*/ 1 w 6927998"/>
                <a:gd name="connsiteY0" fmla="*/ 119545 h 617167"/>
                <a:gd name="connsiteX1" fmla="*/ 6552729 w 6927998"/>
                <a:gd name="connsiteY1" fmla="*/ 119545 h 617167"/>
                <a:gd name="connsiteX2" fmla="*/ 6554071 w 6927998"/>
                <a:gd name="connsiteY2" fmla="*/ 187394 h 617167"/>
                <a:gd name="connsiteX3" fmla="*/ 6927578 w 6927998"/>
                <a:gd name="connsiteY3" fmla="*/ 282768 h 617167"/>
                <a:gd name="connsiteX4" fmla="*/ 6551550 w 6927998"/>
                <a:gd name="connsiteY4" fmla="*/ 413613 h 617167"/>
                <a:gd name="connsiteX5" fmla="*/ 6552729 w 6927998"/>
                <a:gd name="connsiteY5" fmla="*/ 480091 h 617167"/>
                <a:gd name="connsiteX6" fmla="*/ 1 w 6927998"/>
                <a:gd name="connsiteY6" fmla="*/ 480091 h 617167"/>
                <a:gd name="connsiteX7" fmla="*/ 0 w 6927998"/>
                <a:gd name="connsiteY7" fmla="*/ 407577 h 617167"/>
                <a:gd name="connsiteX8" fmla="*/ 353525 w 6927998"/>
                <a:gd name="connsiteY8" fmla="*/ 329376 h 617167"/>
                <a:gd name="connsiteX9" fmla="*/ 0 w 6927998"/>
                <a:gd name="connsiteY9" fmla="*/ 191553 h 617167"/>
                <a:gd name="connsiteX10" fmla="*/ 1 w 6927998"/>
                <a:gd name="connsiteY10" fmla="*/ 119545 h 617167"/>
                <a:gd name="connsiteX0" fmla="*/ 1 w 6929967"/>
                <a:gd name="connsiteY0" fmla="*/ 119545 h 617167"/>
                <a:gd name="connsiteX1" fmla="*/ 6552729 w 6929967"/>
                <a:gd name="connsiteY1" fmla="*/ 119545 h 617167"/>
                <a:gd name="connsiteX2" fmla="*/ 6554071 w 6929967"/>
                <a:gd name="connsiteY2" fmla="*/ 187394 h 617167"/>
                <a:gd name="connsiteX3" fmla="*/ 6927578 w 6929967"/>
                <a:gd name="connsiteY3" fmla="*/ 282768 h 617167"/>
                <a:gd name="connsiteX4" fmla="*/ 6551550 w 6929967"/>
                <a:gd name="connsiteY4" fmla="*/ 413613 h 617167"/>
                <a:gd name="connsiteX5" fmla="*/ 6552729 w 6929967"/>
                <a:gd name="connsiteY5" fmla="*/ 480091 h 617167"/>
                <a:gd name="connsiteX6" fmla="*/ 1 w 6929967"/>
                <a:gd name="connsiteY6" fmla="*/ 480091 h 617167"/>
                <a:gd name="connsiteX7" fmla="*/ 0 w 6929967"/>
                <a:gd name="connsiteY7" fmla="*/ 407577 h 617167"/>
                <a:gd name="connsiteX8" fmla="*/ 353525 w 6929967"/>
                <a:gd name="connsiteY8" fmla="*/ 329376 h 617167"/>
                <a:gd name="connsiteX9" fmla="*/ 0 w 6929967"/>
                <a:gd name="connsiteY9" fmla="*/ 191553 h 617167"/>
                <a:gd name="connsiteX10" fmla="*/ 1 w 6929967"/>
                <a:gd name="connsiteY10" fmla="*/ 119545 h 617167"/>
                <a:gd name="connsiteX0" fmla="*/ 1 w 6941727"/>
                <a:gd name="connsiteY0" fmla="*/ 119545 h 617167"/>
                <a:gd name="connsiteX1" fmla="*/ 6552729 w 6941727"/>
                <a:gd name="connsiteY1" fmla="*/ 119545 h 617167"/>
                <a:gd name="connsiteX2" fmla="*/ 6554071 w 6941727"/>
                <a:gd name="connsiteY2" fmla="*/ 187394 h 617167"/>
                <a:gd name="connsiteX3" fmla="*/ 6927578 w 6941727"/>
                <a:gd name="connsiteY3" fmla="*/ 282768 h 617167"/>
                <a:gd name="connsiteX4" fmla="*/ 6551550 w 6941727"/>
                <a:gd name="connsiteY4" fmla="*/ 413613 h 617167"/>
                <a:gd name="connsiteX5" fmla="*/ 6552729 w 6941727"/>
                <a:gd name="connsiteY5" fmla="*/ 480091 h 617167"/>
                <a:gd name="connsiteX6" fmla="*/ 1 w 6941727"/>
                <a:gd name="connsiteY6" fmla="*/ 480091 h 617167"/>
                <a:gd name="connsiteX7" fmla="*/ 0 w 6941727"/>
                <a:gd name="connsiteY7" fmla="*/ 407577 h 617167"/>
                <a:gd name="connsiteX8" fmla="*/ 353525 w 6941727"/>
                <a:gd name="connsiteY8" fmla="*/ 329376 h 617167"/>
                <a:gd name="connsiteX9" fmla="*/ 0 w 6941727"/>
                <a:gd name="connsiteY9" fmla="*/ 191553 h 617167"/>
                <a:gd name="connsiteX10" fmla="*/ 1 w 6941727"/>
                <a:gd name="connsiteY10" fmla="*/ 119545 h 617167"/>
                <a:gd name="connsiteX0" fmla="*/ 1 w 6892955"/>
                <a:gd name="connsiteY0" fmla="*/ 119545 h 617167"/>
                <a:gd name="connsiteX1" fmla="*/ 6552729 w 6892955"/>
                <a:gd name="connsiteY1" fmla="*/ 119545 h 617167"/>
                <a:gd name="connsiteX2" fmla="*/ 6554071 w 6892955"/>
                <a:gd name="connsiteY2" fmla="*/ 187394 h 617167"/>
                <a:gd name="connsiteX3" fmla="*/ 6878806 w 6892955"/>
                <a:gd name="connsiteY3" fmla="*/ 285156 h 617167"/>
                <a:gd name="connsiteX4" fmla="*/ 6551550 w 6892955"/>
                <a:gd name="connsiteY4" fmla="*/ 413613 h 617167"/>
                <a:gd name="connsiteX5" fmla="*/ 6552729 w 6892955"/>
                <a:gd name="connsiteY5" fmla="*/ 480091 h 617167"/>
                <a:gd name="connsiteX6" fmla="*/ 1 w 6892955"/>
                <a:gd name="connsiteY6" fmla="*/ 480091 h 617167"/>
                <a:gd name="connsiteX7" fmla="*/ 0 w 6892955"/>
                <a:gd name="connsiteY7" fmla="*/ 407577 h 617167"/>
                <a:gd name="connsiteX8" fmla="*/ 353525 w 6892955"/>
                <a:gd name="connsiteY8" fmla="*/ 329376 h 617167"/>
                <a:gd name="connsiteX9" fmla="*/ 0 w 6892955"/>
                <a:gd name="connsiteY9" fmla="*/ 191553 h 617167"/>
                <a:gd name="connsiteX10" fmla="*/ 1 w 6892955"/>
                <a:gd name="connsiteY10" fmla="*/ 119545 h 617167"/>
                <a:gd name="connsiteX0" fmla="*/ 1 w 6829263"/>
                <a:gd name="connsiteY0" fmla="*/ 119545 h 617167"/>
                <a:gd name="connsiteX1" fmla="*/ 6552729 w 6829263"/>
                <a:gd name="connsiteY1" fmla="*/ 119545 h 617167"/>
                <a:gd name="connsiteX2" fmla="*/ 6554071 w 6829263"/>
                <a:gd name="connsiteY2" fmla="*/ 187394 h 617167"/>
                <a:gd name="connsiteX3" fmla="*/ 6815114 w 6829263"/>
                <a:gd name="connsiteY3" fmla="*/ 285156 h 617167"/>
                <a:gd name="connsiteX4" fmla="*/ 6551550 w 6829263"/>
                <a:gd name="connsiteY4" fmla="*/ 413613 h 617167"/>
                <a:gd name="connsiteX5" fmla="*/ 6552729 w 6829263"/>
                <a:gd name="connsiteY5" fmla="*/ 480091 h 617167"/>
                <a:gd name="connsiteX6" fmla="*/ 1 w 6829263"/>
                <a:gd name="connsiteY6" fmla="*/ 480091 h 617167"/>
                <a:gd name="connsiteX7" fmla="*/ 0 w 6829263"/>
                <a:gd name="connsiteY7" fmla="*/ 407577 h 617167"/>
                <a:gd name="connsiteX8" fmla="*/ 353525 w 6829263"/>
                <a:gd name="connsiteY8" fmla="*/ 329376 h 617167"/>
                <a:gd name="connsiteX9" fmla="*/ 0 w 6829263"/>
                <a:gd name="connsiteY9" fmla="*/ 191553 h 617167"/>
                <a:gd name="connsiteX10" fmla="*/ 1 w 6829263"/>
                <a:gd name="connsiteY10" fmla="*/ 119545 h 617167"/>
                <a:gd name="connsiteX0" fmla="*/ 1 w 6829262"/>
                <a:gd name="connsiteY0" fmla="*/ 119545 h 617167"/>
                <a:gd name="connsiteX1" fmla="*/ 6552729 w 6829262"/>
                <a:gd name="connsiteY1" fmla="*/ 119545 h 617167"/>
                <a:gd name="connsiteX2" fmla="*/ 6554071 w 6829262"/>
                <a:gd name="connsiteY2" fmla="*/ 187394 h 617167"/>
                <a:gd name="connsiteX3" fmla="*/ 6815113 w 6829262"/>
                <a:gd name="connsiteY3" fmla="*/ 285156 h 617167"/>
                <a:gd name="connsiteX4" fmla="*/ 6551550 w 6829262"/>
                <a:gd name="connsiteY4" fmla="*/ 413613 h 617167"/>
                <a:gd name="connsiteX5" fmla="*/ 6552729 w 6829262"/>
                <a:gd name="connsiteY5" fmla="*/ 480091 h 617167"/>
                <a:gd name="connsiteX6" fmla="*/ 1 w 6829262"/>
                <a:gd name="connsiteY6" fmla="*/ 480091 h 617167"/>
                <a:gd name="connsiteX7" fmla="*/ 0 w 6829262"/>
                <a:gd name="connsiteY7" fmla="*/ 407577 h 617167"/>
                <a:gd name="connsiteX8" fmla="*/ 353525 w 6829262"/>
                <a:gd name="connsiteY8" fmla="*/ 329376 h 617167"/>
                <a:gd name="connsiteX9" fmla="*/ 0 w 6829262"/>
                <a:gd name="connsiteY9" fmla="*/ 191553 h 617167"/>
                <a:gd name="connsiteX10" fmla="*/ 1 w 6829262"/>
                <a:gd name="connsiteY10" fmla="*/ 119545 h 617167"/>
                <a:gd name="connsiteX0" fmla="*/ 1 w 6829262"/>
                <a:gd name="connsiteY0" fmla="*/ 91149 h 617167"/>
                <a:gd name="connsiteX1" fmla="*/ 6552729 w 6829262"/>
                <a:gd name="connsiteY1" fmla="*/ 91149 h 617167"/>
                <a:gd name="connsiteX2" fmla="*/ 6554071 w 6829262"/>
                <a:gd name="connsiteY2" fmla="*/ 158998 h 617167"/>
                <a:gd name="connsiteX3" fmla="*/ 6815113 w 6829262"/>
                <a:gd name="connsiteY3" fmla="*/ 256760 h 617167"/>
                <a:gd name="connsiteX4" fmla="*/ 6551550 w 6829262"/>
                <a:gd name="connsiteY4" fmla="*/ 385217 h 617167"/>
                <a:gd name="connsiteX5" fmla="*/ 6552729 w 6829262"/>
                <a:gd name="connsiteY5" fmla="*/ 451695 h 617167"/>
                <a:gd name="connsiteX6" fmla="*/ 1 w 6829262"/>
                <a:gd name="connsiteY6" fmla="*/ 451695 h 617167"/>
                <a:gd name="connsiteX7" fmla="*/ 0 w 6829262"/>
                <a:gd name="connsiteY7" fmla="*/ 379181 h 617167"/>
                <a:gd name="connsiteX8" fmla="*/ 318530 w 6829262"/>
                <a:gd name="connsiteY8" fmla="*/ 329376 h 617167"/>
                <a:gd name="connsiteX9" fmla="*/ 0 w 6829262"/>
                <a:gd name="connsiteY9" fmla="*/ 163157 h 617167"/>
                <a:gd name="connsiteX10" fmla="*/ 1 w 6829262"/>
                <a:gd name="connsiteY10" fmla="*/ 91149 h 617167"/>
                <a:gd name="connsiteX0" fmla="*/ 1 w 6829262"/>
                <a:gd name="connsiteY0" fmla="*/ 91149 h 565801"/>
                <a:gd name="connsiteX1" fmla="*/ 6552729 w 6829262"/>
                <a:gd name="connsiteY1" fmla="*/ 91149 h 565801"/>
                <a:gd name="connsiteX2" fmla="*/ 6554071 w 6829262"/>
                <a:gd name="connsiteY2" fmla="*/ 158998 h 565801"/>
                <a:gd name="connsiteX3" fmla="*/ 6815113 w 6829262"/>
                <a:gd name="connsiteY3" fmla="*/ 256760 h 565801"/>
                <a:gd name="connsiteX4" fmla="*/ 6551550 w 6829262"/>
                <a:gd name="connsiteY4" fmla="*/ 385217 h 565801"/>
                <a:gd name="connsiteX5" fmla="*/ 6552729 w 6829262"/>
                <a:gd name="connsiteY5" fmla="*/ 451695 h 565801"/>
                <a:gd name="connsiteX6" fmla="*/ 1 w 6829262"/>
                <a:gd name="connsiteY6" fmla="*/ 451695 h 565801"/>
                <a:gd name="connsiteX7" fmla="*/ 0 w 6829262"/>
                <a:gd name="connsiteY7" fmla="*/ 379181 h 565801"/>
                <a:gd name="connsiteX8" fmla="*/ 318530 w 6829262"/>
                <a:gd name="connsiteY8" fmla="*/ 329376 h 565801"/>
                <a:gd name="connsiteX9" fmla="*/ 0 w 6829262"/>
                <a:gd name="connsiteY9" fmla="*/ 163157 h 565801"/>
                <a:gd name="connsiteX10" fmla="*/ 1 w 6829262"/>
                <a:gd name="connsiteY10" fmla="*/ 91149 h 565801"/>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 name="connsiteX0" fmla="*/ 1 w 6829262"/>
                <a:gd name="connsiteY0" fmla="*/ 91148 h 565800"/>
                <a:gd name="connsiteX1" fmla="*/ 6552729 w 6829262"/>
                <a:gd name="connsiteY1" fmla="*/ 91148 h 565800"/>
                <a:gd name="connsiteX2" fmla="*/ 6554071 w 6829262"/>
                <a:gd name="connsiteY2" fmla="*/ 158997 h 565800"/>
                <a:gd name="connsiteX3" fmla="*/ 6815113 w 6829262"/>
                <a:gd name="connsiteY3" fmla="*/ 256759 h 565800"/>
                <a:gd name="connsiteX4" fmla="*/ 6551550 w 6829262"/>
                <a:gd name="connsiteY4" fmla="*/ 385216 h 565800"/>
                <a:gd name="connsiteX5" fmla="*/ 6552729 w 6829262"/>
                <a:gd name="connsiteY5" fmla="*/ 451694 h 565800"/>
                <a:gd name="connsiteX6" fmla="*/ 1 w 6829262"/>
                <a:gd name="connsiteY6" fmla="*/ 451694 h 565800"/>
                <a:gd name="connsiteX7" fmla="*/ 0 w 6829262"/>
                <a:gd name="connsiteY7" fmla="*/ 379180 h 565800"/>
                <a:gd name="connsiteX8" fmla="*/ 318530 w 6829262"/>
                <a:gd name="connsiteY8" fmla="*/ 329376 h 565800"/>
                <a:gd name="connsiteX9" fmla="*/ 0 w 6829262"/>
                <a:gd name="connsiteY9" fmla="*/ 163156 h 565800"/>
                <a:gd name="connsiteX10" fmla="*/ 1 w 6829262"/>
                <a:gd name="connsiteY10" fmla="*/ 91148 h 56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29262" h="565800">
                  <a:moveTo>
                    <a:pt x="1" y="91148"/>
                  </a:moveTo>
                  <a:lnTo>
                    <a:pt x="6552729" y="91148"/>
                  </a:lnTo>
                  <a:cubicBezTo>
                    <a:pt x="6553176" y="113764"/>
                    <a:pt x="6553624" y="136381"/>
                    <a:pt x="6554071" y="158997"/>
                  </a:cubicBezTo>
                  <a:cubicBezTo>
                    <a:pt x="6553875" y="186974"/>
                    <a:pt x="6817502" y="5190"/>
                    <a:pt x="6815113" y="256759"/>
                  </a:cubicBezTo>
                  <a:cubicBezTo>
                    <a:pt x="6829262" y="565800"/>
                    <a:pt x="6551354" y="353102"/>
                    <a:pt x="6551550" y="385216"/>
                  </a:cubicBezTo>
                  <a:lnTo>
                    <a:pt x="6552729" y="451694"/>
                  </a:lnTo>
                  <a:lnTo>
                    <a:pt x="1" y="451694"/>
                  </a:lnTo>
                  <a:cubicBezTo>
                    <a:pt x="1" y="427523"/>
                    <a:pt x="0" y="403351"/>
                    <a:pt x="0" y="379180"/>
                  </a:cubicBezTo>
                  <a:cubicBezTo>
                    <a:pt x="37811" y="297513"/>
                    <a:pt x="211380" y="509276"/>
                    <a:pt x="318530" y="329376"/>
                  </a:cubicBezTo>
                  <a:cubicBezTo>
                    <a:pt x="309846" y="0"/>
                    <a:pt x="81664" y="248005"/>
                    <a:pt x="0" y="163156"/>
                  </a:cubicBezTo>
                  <a:cubicBezTo>
                    <a:pt x="0" y="139153"/>
                    <a:pt x="1" y="115151"/>
                    <a:pt x="1" y="9114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Market</a:t>
              </a:r>
              <a:endParaRPr lang="en-US" sz="900" b="1" dirty="0"/>
            </a:p>
          </p:txBody>
        </p:sp>
        <p:sp>
          <p:nvSpPr>
            <p:cNvPr id="80" name="Rechteck 79"/>
            <p:cNvSpPr/>
            <p:nvPr/>
          </p:nvSpPr>
          <p:spPr>
            <a:xfrm>
              <a:off x="9273520" y="1201073"/>
              <a:ext cx="360000" cy="41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ctr"/>
            <a:lstStyle/>
            <a:p>
              <a:pPr algn="ctr"/>
              <a:r>
                <a:rPr lang="en-US" sz="900" b="1" dirty="0" smtClean="0"/>
                <a:t>Core statement/Conclusive valuation</a:t>
              </a:r>
              <a:endParaRPr lang="en-US" sz="900" b="1" dirty="0"/>
            </a:p>
          </p:txBody>
        </p:sp>
        <p:grpSp>
          <p:nvGrpSpPr>
            <p:cNvPr id="81" name="Gruppieren 42"/>
            <p:cNvGrpSpPr>
              <a:grpSpLocks noChangeAspect="1"/>
            </p:cNvGrpSpPr>
            <p:nvPr/>
          </p:nvGrpSpPr>
          <p:grpSpPr>
            <a:xfrm>
              <a:off x="834859" y="1862664"/>
              <a:ext cx="7380199" cy="2854457"/>
              <a:chOff x="789797" y="2329946"/>
              <a:chExt cx="6937499" cy="2683230"/>
            </a:xfrm>
          </p:grpSpPr>
          <p:sp>
            <p:nvSpPr>
              <p:cNvPr id="83" name="Freihandform 82"/>
              <p:cNvSpPr/>
              <p:nvPr/>
            </p:nvSpPr>
            <p:spPr>
              <a:xfrm rot="5400000">
                <a:off x="1069723" y="2901976"/>
                <a:ext cx="1408284" cy="146172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2880789"/>
                  <a:gd name="connsiteX1" fmla="*/ 1440386 w 3480809"/>
                  <a:gd name="connsiteY1" fmla="*/ 717940 h 2880789"/>
                  <a:gd name="connsiteX2" fmla="*/ 1728425 w 3480809"/>
                  <a:gd name="connsiteY2" fmla="*/ 0 h 2880789"/>
                  <a:gd name="connsiteX3" fmla="*/ 2030484 w 3480809"/>
                  <a:gd name="connsiteY3" fmla="*/ 726242 h 2880789"/>
                  <a:gd name="connsiteX4" fmla="*/ 2808573 w 3480809"/>
                  <a:gd name="connsiteY4" fmla="*/ 717940 h 2880789"/>
                  <a:gd name="connsiteX5" fmla="*/ 2822592 w 3480809"/>
                  <a:gd name="connsiteY5" fmla="*/ 1438040 h 2880789"/>
                  <a:gd name="connsiteX6" fmla="*/ 2822592 w 3480809"/>
                  <a:gd name="connsiteY6" fmla="*/ 1510050 h 2880789"/>
                  <a:gd name="connsiteX7" fmla="*/ 3475582 w 3480809"/>
                  <a:gd name="connsiteY7" fmla="*/ 1821462 h 2880789"/>
                  <a:gd name="connsiteX8" fmla="*/ 2822592 w 3480809"/>
                  <a:gd name="connsiteY8" fmla="*/ 2086130 h 2880789"/>
                  <a:gd name="connsiteX9" fmla="*/ 2810498 w 3480809"/>
                  <a:gd name="connsiteY9" fmla="*/ 2878240 h 2880789"/>
                  <a:gd name="connsiteX10" fmla="*/ 2808573 w 3480809"/>
                  <a:gd name="connsiteY10" fmla="*/ 2878240 h 2880789"/>
                  <a:gd name="connsiteX11" fmla="*/ 2016461 w 3480809"/>
                  <a:gd name="connsiteY11" fmla="*/ 2878240 h 2880789"/>
                  <a:gd name="connsiteX12" fmla="*/ 1440381 w 3480809"/>
                  <a:gd name="connsiteY12" fmla="*/ 2880790 h 2880789"/>
                  <a:gd name="connsiteX13" fmla="*/ 648273 w 3480809"/>
                  <a:gd name="connsiteY13" fmla="*/ 2878240 h 2880789"/>
                  <a:gd name="connsiteX14" fmla="*/ 648273 w 3480809"/>
                  <a:gd name="connsiteY14" fmla="*/ 2109500 h 2880789"/>
                  <a:gd name="connsiteX15" fmla="*/ 0 w 3480809"/>
                  <a:gd name="connsiteY15" fmla="*/ 1821460 h 2880789"/>
                  <a:gd name="connsiteX16" fmla="*/ 648272 w 3480809"/>
                  <a:gd name="connsiteY16" fmla="*/ 1533420 h 2880789"/>
                  <a:gd name="connsiteX17" fmla="*/ 648273 w 3480809"/>
                  <a:gd name="connsiteY17" fmla="*/ 717940 h 2880789"/>
                  <a:gd name="connsiteX18" fmla="*/ 648273 w 3480809"/>
                  <a:gd name="connsiteY18" fmla="*/ 717940 h 288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80809" h="2880789">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lnTo>
                      <a:pt x="1440381" y="2880790"/>
                    </a:ln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4" name="Freihandform 83"/>
              <p:cNvSpPr/>
              <p:nvPr/>
            </p:nvSpPr>
            <p:spPr>
              <a:xfrm rot="10800000">
                <a:off x="3984173" y="3787583"/>
                <a:ext cx="1138179" cy="122559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1 h 2810549"/>
                  <a:gd name="connsiteX1" fmla="*/ 792113 w 2174319"/>
                  <a:gd name="connsiteY1" fmla="*/ -1 h 2810549"/>
                  <a:gd name="connsiteX2" fmla="*/ 1382211 w 2174319"/>
                  <a:gd name="connsiteY2" fmla="*/ 8301 h 2810549"/>
                  <a:gd name="connsiteX3" fmla="*/ 2160300 w 2174319"/>
                  <a:gd name="connsiteY3" fmla="*/ -1 h 2810549"/>
                  <a:gd name="connsiteX4" fmla="*/ 2174319 w 2174319"/>
                  <a:gd name="connsiteY4" fmla="*/ 720099 h 2810549"/>
                  <a:gd name="connsiteX5" fmla="*/ 2174319 w 2174319"/>
                  <a:gd name="connsiteY5" fmla="*/ 792109 h 2810549"/>
                  <a:gd name="connsiteX6" fmla="*/ 1512208 w 2174319"/>
                  <a:gd name="connsiteY6" fmla="*/ 1080149 h 2810549"/>
                  <a:gd name="connsiteX7" fmla="*/ 2174319 w 2174319"/>
                  <a:gd name="connsiteY7" fmla="*/ 1368189 h 2810549"/>
                  <a:gd name="connsiteX8" fmla="*/ 2162225 w 2174319"/>
                  <a:gd name="connsiteY8" fmla="*/ 2160299 h 2810549"/>
                  <a:gd name="connsiteX9" fmla="*/ 2160300 w 2174319"/>
                  <a:gd name="connsiteY9" fmla="*/ 2160299 h 2810549"/>
                  <a:gd name="connsiteX10" fmla="*/ 1368188 w 2174319"/>
                  <a:gd name="connsiteY10" fmla="*/ 2160299 h 2810549"/>
                  <a:gd name="connsiteX11" fmla="*/ 1080148 w 2174319"/>
                  <a:gd name="connsiteY11" fmla="*/ 2808389 h 2810549"/>
                  <a:gd name="connsiteX12" fmla="*/ 792108 w 2174319"/>
                  <a:gd name="connsiteY12" fmla="*/ 2162849 h 2810549"/>
                  <a:gd name="connsiteX13" fmla="*/ 0 w 2174319"/>
                  <a:gd name="connsiteY13" fmla="*/ 2160299 h 2810549"/>
                  <a:gd name="connsiteX14" fmla="*/ 0 w 2174319"/>
                  <a:gd name="connsiteY14" fmla="*/ -1 h 281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0549">
                    <a:moveTo>
                      <a:pt x="0" y="-1"/>
                    </a:moveTo>
                    <a:lnTo>
                      <a:pt x="792113" y="-1"/>
                    </a:lnTo>
                    <a:lnTo>
                      <a:pt x="1382211" y="8301"/>
                    </a:lnTo>
                    <a:lnTo>
                      <a:pt x="2160300" y="-1"/>
                    </a:lnTo>
                    <a:lnTo>
                      <a:pt x="2174319" y="720099"/>
                    </a:lnTo>
                    <a:lnTo>
                      <a:pt x="2174319" y="792109"/>
                    </a:lnTo>
                    <a:cubicBezTo>
                      <a:pt x="2067113" y="984125"/>
                      <a:pt x="1555551" y="424033"/>
                      <a:pt x="1512208" y="1080149"/>
                    </a:cubicBezTo>
                    <a:cubicBezTo>
                      <a:pt x="1569532" y="1704355"/>
                      <a:pt x="2015314" y="1283224"/>
                      <a:pt x="2174319" y="1368189"/>
                    </a:cubicBezTo>
                    <a:cubicBezTo>
                      <a:pt x="2174067" y="1663359"/>
                      <a:pt x="2166256" y="1872259"/>
                      <a:pt x="2162225" y="2160299"/>
                    </a:cubicBezTo>
                    <a:cubicBezTo>
                      <a:pt x="2162224" y="2152556"/>
                      <a:pt x="2174319" y="1334755"/>
                      <a:pt x="2160300" y="2160299"/>
                    </a:cubicBezTo>
                    <a:lnTo>
                      <a:pt x="1368188" y="2160299"/>
                    </a:lnTo>
                    <a:cubicBezTo>
                      <a:pt x="1267741" y="2160299"/>
                      <a:pt x="1696945" y="2810549"/>
                      <a:pt x="1080148" y="2808389"/>
                    </a:cubicBezTo>
                    <a:cubicBezTo>
                      <a:pt x="458508" y="2808389"/>
                      <a:pt x="883688" y="2162849"/>
                      <a:pt x="792108" y="2162849"/>
                    </a:cubicBezTo>
                    <a:lnTo>
                      <a:pt x="0" y="2160299"/>
                    </a:lnTo>
                    <a:lnTo>
                      <a:pt x="0" y="-1"/>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86" name="Freihandform 85"/>
              <p:cNvSpPr/>
              <p:nvPr/>
            </p:nvSpPr>
            <p:spPr>
              <a:xfrm rot="5400000">
                <a:off x="4283893" y="2037353"/>
                <a:ext cx="879697" cy="1464883"/>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cubicBezTo>
                      <a:pt x="1267741" y="2814106"/>
                      <a:pt x="1619368" y="2109691"/>
                      <a:pt x="1080152" y="2096167"/>
                    </a:cubicBezTo>
                    <a:cubicBezTo>
                      <a:pt x="514431" y="2065071"/>
                      <a:pt x="883688" y="2816656"/>
                      <a:pt x="792108" y="2816656"/>
                    </a:cubicBez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grpSp>
            <p:nvGrpSpPr>
              <p:cNvPr id="87" name="Gruppieren 215"/>
              <p:cNvGrpSpPr/>
              <p:nvPr/>
            </p:nvGrpSpPr>
            <p:grpSpPr>
              <a:xfrm>
                <a:off x="3867301" y="2330100"/>
                <a:ext cx="3859995" cy="2668649"/>
                <a:chOff x="108821" y="66171"/>
                <a:chExt cx="7265267" cy="6514768"/>
              </a:xfrm>
            </p:grpSpPr>
            <p:grpSp>
              <p:nvGrpSpPr>
                <p:cNvPr id="113" name="Gruppieren 191"/>
                <p:cNvGrpSpPr/>
                <p:nvPr/>
              </p:nvGrpSpPr>
              <p:grpSpPr>
                <a:xfrm>
                  <a:off x="108821" y="66171"/>
                  <a:ext cx="7265267" cy="6514768"/>
                  <a:chOff x="711486" y="501255"/>
                  <a:chExt cx="7265267" cy="6514768"/>
                </a:xfrm>
              </p:grpSpPr>
              <p:sp>
                <p:nvSpPr>
                  <p:cNvPr id="115" name="Freihandform 114"/>
                  <p:cNvSpPr/>
                  <p:nvPr/>
                </p:nvSpPr>
                <p:spPr>
                  <a:xfrm rot="5400000">
                    <a:off x="2430206" y="1979339"/>
                    <a:ext cx="3480809" cy="3528490"/>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0 w 2192141"/>
                      <a:gd name="connsiteY15" fmla="*/ 2034210 h 3528490"/>
                      <a:gd name="connsiteX16" fmla="*/ 17822 w 2192141"/>
                      <a:gd name="connsiteY16" fmla="*/ 717940 h 3528490"/>
                      <a:gd name="connsiteX17" fmla="*/ 0 w 2192141"/>
                      <a:gd name="connsiteY17" fmla="*/ 162781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17822 w 2192141"/>
                      <a:gd name="connsiteY0" fmla="*/ 717940 h 3528490"/>
                      <a:gd name="connsiteX1" fmla="*/ 809935 w 2192141"/>
                      <a:gd name="connsiteY1" fmla="*/ 717940 h 3528490"/>
                      <a:gd name="connsiteX2" fmla="*/ 1097974 w 2192141"/>
                      <a:gd name="connsiteY2" fmla="*/ 0 h 3528490"/>
                      <a:gd name="connsiteX3" fmla="*/ 1400033 w 2192141"/>
                      <a:gd name="connsiteY3" fmla="*/ 726242 h 3528490"/>
                      <a:gd name="connsiteX4" fmla="*/ 2178122 w 2192141"/>
                      <a:gd name="connsiteY4" fmla="*/ 717940 h 3528490"/>
                      <a:gd name="connsiteX5" fmla="*/ 2192141 w 2192141"/>
                      <a:gd name="connsiteY5" fmla="*/ 1438040 h 3528490"/>
                      <a:gd name="connsiteX6" fmla="*/ 2192141 w 2192141"/>
                      <a:gd name="connsiteY6" fmla="*/ 1510050 h 3528490"/>
                      <a:gd name="connsiteX7" fmla="*/ 1530030 w 2192141"/>
                      <a:gd name="connsiteY7" fmla="*/ 1798090 h 3528490"/>
                      <a:gd name="connsiteX8" fmla="*/ 2192141 w 2192141"/>
                      <a:gd name="connsiteY8" fmla="*/ 2086130 h 3528490"/>
                      <a:gd name="connsiteX9" fmla="*/ 2180047 w 2192141"/>
                      <a:gd name="connsiteY9" fmla="*/ 2878240 h 3528490"/>
                      <a:gd name="connsiteX10" fmla="*/ 2178122 w 2192141"/>
                      <a:gd name="connsiteY10" fmla="*/ 2878240 h 3528490"/>
                      <a:gd name="connsiteX11" fmla="*/ 1386010 w 2192141"/>
                      <a:gd name="connsiteY11" fmla="*/ 2878240 h 3528490"/>
                      <a:gd name="connsiteX12" fmla="*/ 1097970 w 2192141"/>
                      <a:gd name="connsiteY12" fmla="*/ 3526330 h 3528490"/>
                      <a:gd name="connsiteX13" fmla="*/ 809930 w 2192141"/>
                      <a:gd name="connsiteY13" fmla="*/ 2880790 h 3528490"/>
                      <a:gd name="connsiteX14" fmla="*/ 17822 w 2192141"/>
                      <a:gd name="connsiteY14" fmla="*/ 2878240 h 3528490"/>
                      <a:gd name="connsiteX15" fmla="*/ 1 w 2192141"/>
                      <a:gd name="connsiteY15" fmla="*/ 2037490 h 3528490"/>
                      <a:gd name="connsiteX16" fmla="*/ 17822 w 2192141"/>
                      <a:gd name="connsiteY16" fmla="*/ 717940 h 3528490"/>
                      <a:gd name="connsiteX17" fmla="*/ 0 w 2192141"/>
                      <a:gd name="connsiteY17" fmla="*/ 1627810 h 3528490"/>
                      <a:gd name="connsiteX18" fmla="*/ 17822 w 2192141"/>
                      <a:gd name="connsiteY18"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0 w 2198491"/>
                      <a:gd name="connsiteY16" fmla="*/ 1837360 h 3528490"/>
                      <a:gd name="connsiteX17" fmla="*/ 24172 w 2198491"/>
                      <a:gd name="connsiteY17" fmla="*/ 717940 h 3528490"/>
                      <a:gd name="connsiteX18" fmla="*/ 6350 w 2198491"/>
                      <a:gd name="connsiteY18" fmla="*/ 1627810 h 3528490"/>
                      <a:gd name="connsiteX19" fmla="*/ 24172 w 2198491"/>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24171 w 2198490"/>
                      <a:gd name="connsiteY19"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6349 w 2198490"/>
                      <a:gd name="connsiteY18" fmla="*/ 1627810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2 w 2198491"/>
                      <a:gd name="connsiteY0" fmla="*/ 717940 h 3528490"/>
                      <a:gd name="connsiteX1" fmla="*/ 816285 w 2198491"/>
                      <a:gd name="connsiteY1" fmla="*/ 717940 h 3528490"/>
                      <a:gd name="connsiteX2" fmla="*/ 1104324 w 2198491"/>
                      <a:gd name="connsiteY2" fmla="*/ 0 h 3528490"/>
                      <a:gd name="connsiteX3" fmla="*/ 1406383 w 2198491"/>
                      <a:gd name="connsiteY3" fmla="*/ 726242 h 3528490"/>
                      <a:gd name="connsiteX4" fmla="*/ 2184472 w 2198491"/>
                      <a:gd name="connsiteY4" fmla="*/ 717940 h 3528490"/>
                      <a:gd name="connsiteX5" fmla="*/ 2198491 w 2198491"/>
                      <a:gd name="connsiteY5" fmla="*/ 1438040 h 3528490"/>
                      <a:gd name="connsiteX6" fmla="*/ 2198491 w 2198491"/>
                      <a:gd name="connsiteY6" fmla="*/ 1510050 h 3528490"/>
                      <a:gd name="connsiteX7" fmla="*/ 1536380 w 2198491"/>
                      <a:gd name="connsiteY7" fmla="*/ 1798090 h 3528490"/>
                      <a:gd name="connsiteX8" fmla="*/ 2198491 w 2198491"/>
                      <a:gd name="connsiteY8" fmla="*/ 2086130 h 3528490"/>
                      <a:gd name="connsiteX9" fmla="*/ 2186397 w 2198491"/>
                      <a:gd name="connsiteY9" fmla="*/ 2878240 h 3528490"/>
                      <a:gd name="connsiteX10" fmla="*/ 2184472 w 2198491"/>
                      <a:gd name="connsiteY10" fmla="*/ 2878240 h 3528490"/>
                      <a:gd name="connsiteX11" fmla="*/ 1392360 w 2198491"/>
                      <a:gd name="connsiteY11" fmla="*/ 2878240 h 3528490"/>
                      <a:gd name="connsiteX12" fmla="*/ 1104320 w 2198491"/>
                      <a:gd name="connsiteY12" fmla="*/ 3526330 h 3528490"/>
                      <a:gd name="connsiteX13" fmla="*/ 816280 w 2198491"/>
                      <a:gd name="connsiteY13" fmla="*/ 2880790 h 3528490"/>
                      <a:gd name="connsiteX14" fmla="*/ 24172 w 2198491"/>
                      <a:gd name="connsiteY14" fmla="*/ 2878240 h 3528490"/>
                      <a:gd name="connsiteX15" fmla="*/ 6351 w 2198491"/>
                      <a:gd name="connsiteY15" fmla="*/ 2037490 h 3528490"/>
                      <a:gd name="connsiteX16" fmla="*/ 1 w 2198491"/>
                      <a:gd name="connsiteY16" fmla="*/ 1893470 h 3528490"/>
                      <a:gd name="connsiteX17" fmla="*/ 24172 w 2198491"/>
                      <a:gd name="connsiteY17" fmla="*/ 717940 h 3528490"/>
                      <a:gd name="connsiteX18" fmla="*/ 1 w 2198491"/>
                      <a:gd name="connsiteY18" fmla="*/ 1383687 h 3528490"/>
                      <a:gd name="connsiteX19" fmla="*/ 12700 w 2198491"/>
                      <a:gd name="connsiteY19" fmla="*/ 1545260 h 3528490"/>
                      <a:gd name="connsiteX20" fmla="*/ 0 w 2198491"/>
                      <a:gd name="connsiteY20" fmla="*/ 1443660 h 3528490"/>
                      <a:gd name="connsiteX21" fmla="*/ 24172 w 2198491"/>
                      <a:gd name="connsiteY21"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383687 h 3528490"/>
                      <a:gd name="connsiteX19" fmla="*/ 12699 w 2198490"/>
                      <a:gd name="connsiteY19" fmla="*/ 1545260 h 3528490"/>
                      <a:gd name="connsiteX20" fmla="*/ 24171 w 2198490"/>
                      <a:gd name="connsiteY20" fmla="*/ 717940 h 3528490"/>
                      <a:gd name="connsiteX0" fmla="*/ 24171 w 2198490"/>
                      <a:gd name="connsiteY0" fmla="*/ 717940 h 3528490"/>
                      <a:gd name="connsiteX1" fmla="*/ 816284 w 2198490"/>
                      <a:gd name="connsiteY1" fmla="*/ 717940 h 3528490"/>
                      <a:gd name="connsiteX2" fmla="*/ 1104323 w 2198490"/>
                      <a:gd name="connsiteY2" fmla="*/ 0 h 3528490"/>
                      <a:gd name="connsiteX3" fmla="*/ 1406382 w 2198490"/>
                      <a:gd name="connsiteY3" fmla="*/ 726242 h 3528490"/>
                      <a:gd name="connsiteX4" fmla="*/ 2184471 w 2198490"/>
                      <a:gd name="connsiteY4" fmla="*/ 717940 h 3528490"/>
                      <a:gd name="connsiteX5" fmla="*/ 2198490 w 2198490"/>
                      <a:gd name="connsiteY5" fmla="*/ 1438040 h 3528490"/>
                      <a:gd name="connsiteX6" fmla="*/ 2198490 w 2198490"/>
                      <a:gd name="connsiteY6" fmla="*/ 1510050 h 3528490"/>
                      <a:gd name="connsiteX7" fmla="*/ 1536379 w 2198490"/>
                      <a:gd name="connsiteY7" fmla="*/ 1798090 h 3528490"/>
                      <a:gd name="connsiteX8" fmla="*/ 2198490 w 2198490"/>
                      <a:gd name="connsiteY8" fmla="*/ 2086130 h 3528490"/>
                      <a:gd name="connsiteX9" fmla="*/ 2186396 w 2198490"/>
                      <a:gd name="connsiteY9" fmla="*/ 2878240 h 3528490"/>
                      <a:gd name="connsiteX10" fmla="*/ 2184471 w 2198490"/>
                      <a:gd name="connsiteY10" fmla="*/ 2878240 h 3528490"/>
                      <a:gd name="connsiteX11" fmla="*/ 1392359 w 2198490"/>
                      <a:gd name="connsiteY11" fmla="*/ 2878240 h 3528490"/>
                      <a:gd name="connsiteX12" fmla="*/ 1104319 w 2198490"/>
                      <a:gd name="connsiteY12" fmla="*/ 3526330 h 3528490"/>
                      <a:gd name="connsiteX13" fmla="*/ 816279 w 2198490"/>
                      <a:gd name="connsiteY13" fmla="*/ 2880790 h 3528490"/>
                      <a:gd name="connsiteX14" fmla="*/ 24171 w 2198490"/>
                      <a:gd name="connsiteY14" fmla="*/ 2878240 h 3528490"/>
                      <a:gd name="connsiteX15" fmla="*/ 6350 w 2198490"/>
                      <a:gd name="connsiteY15" fmla="*/ 2037490 h 3528490"/>
                      <a:gd name="connsiteX16" fmla="*/ 0 w 2198490"/>
                      <a:gd name="connsiteY16" fmla="*/ 1893470 h 3528490"/>
                      <a:gd name="connsiteX17" fmla="*/ 24171 w 2198490"/>
                      <a:gd name="connsiteY17" fmla="*/ 717940 h 3528490"/>
                      <a:gd name="connsiteX18" fmla="*/ 0 w 2198490"/>
                      <a:gd name="connsiteY18" fmla="*/ 1533420 h 3528490"/>
                      <a:gd name="connsiteX19" fmla="*/ 12699 w 2198490"/>
                      <a:gd name="connsiteY19" fmla="*/ 1545260 h 3528490"/>
                      <a:gd name="connsiteX20" fmla="*/ 24171 w 2198490"/>
                      <a:gd name="connsiteY20" fmla="*/ 717940 h 3528490"/>
                      <a:gd name="connsiteX0" fmla="*/ 27141 w 2201460"/>
                      <a:gd name="connsiteY0" fmla="*/ 717940 h 3528490"/>
                      <a:gd name="connsiteX1" fmla="*/ 819254 w 2201460"/>
                      <a:gd name="connsiteY1" fmla="*/ 717940 h 3528490"/>
                      <a:gd name="connsiteX2" fmla="*/ 1107293 w 2201460"/>
                      <a:gd name="connsiteY2" fmla="*/ 0 h 3528490"/>
                      <a:gd name="connsiteX3" fmla="*/ 1409352 w 2201460"/>
                      <a:gd name="connsiteY3" fmla="*/ 726242 h 3528490"/>
                      <a:gd name="connsiteX4" fmla="*/ 2187441 w 2201460"/>
                      <a:gd name="connsiteY4" fmla="*/ 717940 h 3528490"/>
                      <a:gd name="connsiteX5" fmla="*/ 2201460 w 2201460"/>
                      <a:gd name="connsiteY5" fmla="*/ 1438040 h 3528490"/>
                      <a:gd name="connsiteX6" fmla="*/ 2201460 w 2201460"/>
                      <a:gd name="connsiteY6" fmla="*/ 1510050 h 3528490"/>
                      <a:gd name="connsiteX7" fmla="*/ 1539349 w 2201460"/>
                      <a:gd name="connsiteY7" fmla="*/ 1798090 h 3528490"/>
                      <a:gd name="connsiteX8" fmla="*/ 2201460 w 2201460"/>
                      <a:gd name="connsiteY8" fmla="*/ 2086130 h 3528490"/>
                      <a:gd name="connsiteX9" fmla="*/ 2189366 w 2201460"/>
                      <a:gd name="connsiteY9" fmla="*/ 2878240 h 3528490"/>
                      <a:gd name="connsiteX10" fmla="*/ 2187441 w 2201460"/>
                      <a:gd name="connsiteY10" fmla="*/ 2878240 h 3528490"/>
                      <a:gd name="connsiteX11" fmla="*/ 1395329 w 2201460"/>
                      <a:gd name="connsiteY11" fmla="*/ 2878240 h 3528490"/>
                      <a:gd name="connsiteX12" fmla="*/ 1107289 w 2201460"/>
                      <a:gd name="connsiteY12" fmla="*/ 3526330 h 3528490"/>
                      <a:gd name="connsiteX13" fmla="*/ 819249 w 2201460"/>
                      <a:gd name="connsiteY13" fmla="*/ 2880790 h 3528490"/>
                      <a:gd name="connsiteX14" fmla="*/ 27141 w 2201460"/>
                      <a:gd name="connsiteY14" fmla="*/ 2878240 h 3528490"/>
                      <a:gd name="connsiteX15" fmla="*/ 9320 w 2201460"/>
                      <a:gd name="connsiteY15" fmla="*/ 2037490 h 3528490"/>
                      <a:gd name="connsiteX16" fmla="*/ 2970 w 2201460"/>
                      <a:gd name="connsiteY16" fmla="*/ 1893470 h 3528490"/>
                      <a:gd name="connsiteX17" fmla="*/ 27141 w 2201460"/>
                      <a:gd name="connsiteY17" fmla="*/ 717940 h 3528490"/>
                      <a:gd name="connsiteX18" fmla="*/ 2970 w 2201460"/>
                      <a:gd name="connsiteY18" fmla="*/ 1533420 h 3528490"/>
                      <a:gd name="connsiteX19" fmla="*/ 9319 w 2201460"/>
                      <a:gd name="connsiteY19" fmla="*/ 1704010 h 3528490"/>
                      <a:gd name="connsiteX20" fmla="*/ 15669 w 2201460"/>
                      <a:gd name="connsiteY20" fmla="*/ 1545260 h 3528490"/>
                      <a:gd name="connsiteX21" fmla="*/ 27141 w 2201460"/>
                      <a:gd name="connsiteY21"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1912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26083 w 2200402"/>
                      <a:gd name="connsiteY0" fmla="*/ 717940 h 3528490"/>
                      <a:gd name="connsiteX1" fmla="*/ 818196 w 2200402"/>
                      <a:gd name="connsiteY1" fmla="*/ 717940 h 3528490"/>
                      <a:gd name="connsiteX2" fmla="*/ 1106235 w 2200402"/>
                      <a:gd name="connsiteY2" fmla="*/ 0 h 3528490"/>
                      <a:gd name="connsiteX3" fmla="*/ 1408294 w 2200402"/>
                      <a:gd name="connsiteY3" fmla="*/ 726242 h 3528490"/>
                      <a:gd name="connsiteX4" fmla="*/ 2186383 w 2200402"/>
                      <a:gd name="connsiteY4" fmla="*/ 717940 h 3528490"/>
                      <a:gd name="connsiteX5" fmla="*/ 2200402 w 2200402"/>
                      <a:gd name="connsiteY5" fmla="*/ 1438040 h 3528490"/>
                      <a:gd name="connsiteX6" fmla="*/ 2200402 w 2200402"/>
                      <a:gd name="connsiteY6" fmla="*/ 1510050 h 3528490"/>
                      <a:gd name="connsiteX7" fmla="*/ 1538291 w 2200402"/>
                      <a:gd name="connsiteY7" fmla="*/ 1798090 h 3528490"/>
                      <a:gd name="connsiteX8" fmla="*/ 2200402 w 2200402"/>
                      <a:gd name="connsiteY8" fmla="*/ 2086130 h 3528490"/>
                      <a:gd name="connsiteX9" fmla="*/ 2188308 w 2200402"/>
                      <a:gd name="connsiteY9" fmla="*/ 2878240 h 3528490"/>
                      <a:gd name="connsiteX10" fmla="*/ 2186383 w 2200402"/>
                      <a:gd name="connsiteY10" fmla="*/ 2878240 h 3528490"/>
                      <a:gd name="connsiteX11" fmla="*/ 1394271 w 2200402"/>
                      <a:gd name="connsiteY11" fmla="*/ 2878240 h 3528490"/>
                      <a:gd name="connsiteX12" fmla="*/ 1106231 w 2200402"/>
                      <a:gd name="connsiteY12" fmla="*/ 3526330 h 3528490"/>
                      <a:gd name="connsiteX13" fmla="*/ 818191 w 2200402"/>
                      <a:gd name="connsiteY13" fmla="*/ 2880790 h 3528490"/>
                      <a:gd name="connsiteX14" fmla="*/ 26083 w 2200402"/>
                      <a:gd name="connsiteY14" fmla="*/ 2878240 h 3528490"/>
                      <a:gd name="connsiteX15" fmla="*/ 8262 w 2200402"/>
                      <a:gd name="connsiteY15" fmla="*/ 2037490 h 3528490"/>
                      <a:gd name="connsiteX16" fmla="*/ 0 w 2200402"/>
                      <a:gd name="connsiteY16" fmla="*/ 1893470 h 3528490"/>
                      <a:gd name="connsiteX17" fmla="*/ 26083 w 2200402"/>
                      <a:gd name="connsiteY17" fmla="*/ 717940 h 3528490"/>
                      <a:gd name="connsiteX18" fmla="*/ 1912 w 2200402"/>
                      <a:gd name="connsiteY18" fmla="*/ 1533420 h 3528490"/>
                      <a:gd name="connsiteX19" fmla="*/ 14611 w 2200402"/>
                      <a:gd name="connsiteY19" fmla="*/ 1545260 h 3528490"/>
                      <a:gd name="connsiteX20" fmla="*/ 26083 w 2200402"/>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4028 w 2204430"/>
                      <a:gd name="connsiteY16" fmla="*/ 189347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30111 w 2204430"/>
                      <a:gd name="connsiteY0" fmla="*/ 717940 h 3528490"/>
                      <a:gd name="connsiteX1" fmla="*/ 822224 w 2204430"/>
                      <a:gd name="connsiteY1" fmla="*/ 717940 h 3528490"/>
                      <a:gd name="connsiteX2" fmla="*/ 1110263 w 2204430"/>
                      <a:gd name="connsiteY2" fmla="*/ 0 h 3528490"/>
                      <a:gd name="connsiteX3" fmla="*/ 1412322 w 2204430"/>
                      <a:gd name="connsiteY3" fmla="*/ 726242 h 3528490"/>
                      <a:gd name="connsiteX4" fmla="*/ 2190411 w 2204430"/>
                      <a:gd name="connsiteY4" fmla="*/ 717940 h 3528490"/>
                      <a:gd name="connsiteX5" fmla="*/ 2204430 w 2204430"/>
                      <a:gd name="connsiteY5" fmla="*/ 1438040 h 3528490"/>
                      <a:gd name="connsiteX6" fmla="*/ 2204430 w 2204430"/>
                      <a:gd name="connsiteY6" fmla="*/ 1510050 h 3528490"/>
                      <a:gd name="connsiteX7" fmla="*/ 1542319 w 2204430"/>
                      <a:gd name="connsiteY7" fmla="*/ 1798090 h 3528490"/>
                      <a:gd name="connsiteX8" fmla="*/ 2204430 w 2204430"/>
                      <a:gd name="connsiteY8" fmla="*/ 2086130 h 3528490"/>
                      <a:gd name="connsiteX9" fmla="*/ 2192336 w 2204430"/>
                      <a:gd name="connsiteY9" fmla="*/ 2878240 h 3528490"/>
                      <a:gd name="connsiteX10" fmla="*/ 2190411 w 2204430"/>
                      <a:gd name="connsiteY10" fmla="*/ 2878240 h 3528490"/>
                      <a:gd name="connsiteX11" fmla="*/ 1398299 w 2204430"/>
                      <a:gd name="connsiteY11" fmla="*/ 2878240 h 3528490"/>
                      <a:gd name="connsiteX12" fmla="*/ 1110259 w 2204430"/>
                      <a:gd name="connsiteY12" fmla="*/ 3526330 h 3528490"/>
                      <a:gd name="connsiteX13" fmla="*/ 822219 w 2204430"/>
                      <a:gd name="connsiteY13" fmla="*/ 2880790 h 3528490"/>
                      <a:gd name="connsiteX14" fmla="*/ 30111 w 2204430"/>
                      <a:gd name="connsiteY14" fmla="*/ 2878240 h 3528490"/>
                      <a:gd name="connsiteX15" fmla="*/ 12290 w 2204430"/>
                      <a:gd name="connsiteY15" fmla="*/ 2037490 h 3528490"/>
                      <a:gd name="connsiteX16" fmla="*/ 0 w 2204430"/>
                      <a:gd name="connsiteY16" fmla="*/ 1821460 h 3528490"/>
                      <a:gd name="connsiteX17" fmla="*/ 30111 w 2204430"/>
                      <a:gd name="connsiteY17" fmla="*/ 717940 h 3528490"/>
                      <a:gd name="connsiteX18" fmla="*/ 5940 w 2204430"/>
                      <a:gd name="connsiteY18" fmla="*/ 1533420 h 3528490"/>
                      <a:gd name="connsiteX19" fmla="*/ 4028 w 2204430"/>
                      <a:gd name="connsiteY19" fmla="*/ 1605430 h 3528490"/>
                      <a:gd name="connsiteX20" fmla="*/ 30111 w 2204430"/>
                      <a:gd name="connsiteY20"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05936 w 2310366"/>
                      <a:gd name="connsiteY16" fmla="*/ 1821460 h 3528490"/>
                      <a:gd name="connsiteX17" fmla="*/ 136047 w 2310366"/>
                      <a:gd name="connsiteY17" fmla="*/ 717940 h 3528490"/>
                      <a:gd name="connsiteX18" fmla="*/ 111876 w 2310366"/>
                      <a:gd name="connsiteY18" fmla="*/ 1533420 h 3528490"/>
                      <a:gd name="connsiteX19" fmla="*/ 136047 w 2310366"/>
                      <a:gd name="connsiteY19" fmla="*/ 717940 h 3528490"/>
                      <a:gd name="connsiteX0" fmla="*/ 136047 w 2310366"/>
                      <a:gd name="connsiteY0" fmla="*/ 717940 h 3528490"/>
                      <a:gd name="connsiteX1" fmla="*/ 928160 w 2310366"/>
                      <a:gd name="connsiteY1" fmla="*/ 717940 h 3528490"/>
                      <a:gd name="connsiteX2" fmla="*/ 1216199 w 2310366"/>
                      <a:gd name="connsiteY2" fmla="*/ 0 h 3528490"/>
                      <a:gd name="connsiteX3" fmla="*/ 1518258 w 2310366"/>
                      <a:gd name="connsiteY3" fmla="*/ 726242 h 3528490"/>
                      <a:gd name="connsiteX4" fmla="*/ 2296347 w 2310366"/>
                      <a:gd name="connsiteY4" fmla="*/ 717940 h 3528490"/>
                      <a:gd name="connsiteX5" fmla="*/ 2310366 w 2310366"/>
                      <a:gd name="connsiteY5" fmla="*/ 1438040 h 3528490"/>
                      <a:gd name="connsiteX6" fmla="*/ 2310366 w 2310366"/>
                      <a:gd name="connsiteY6" fmla="*/ 1510050 h 3528490"/>
                      <a:gd name="connsiteX7" fmla="*/ 1648255 w 2310366"/>
                      <a:gd name="connsiteY7" fmla="*/ 1798090 h 3528490"/>
                      <a:gd name="connsiteX8" fmla="*/ 2310366 w 2310366"/>
                      <a:gd name="connsiteY8" fmla="*/ 2086130 h 3528490"/>
                      <a:gd name="connsiteX9" fmla="*/ 2298272 w 2310366"/>
                      <a:gd name="connsiteY9" fmla="*/ 2878240 h 3528490"/>
                      <a:gd name="connsiteX10" fmla="*/ 2296347 w 2310366"/>
                      <a:gd name="connsiteY10" fmla="*/ 2878240 h 3528490"/>
                      <a:gd name="connsiteX11" fmla="*/ 1504235 w 2310366"/>
                      <a:gd name="connsiteY11" fmla="*/ 2878240 h 3528490"/>
                      <a:gd name="connsiteX12" fmla="*/ 1216195 w 2310366"/>
                      <a:gd name="connsiteY12" fmla="*/ 3526330 h 3528490"/>
                      <a:gd name="connsiteX13" fmla="*/ 928155 w 2310366"/>
                      <a:gd name="connsiteY13" fmla="*/ 2880790 h 3528490"/>
                      <a:gd name="connsiteX14" fmla="*/ 136047 w 2310366"/>
                      <a:gd name="connsiteY14" fmla="*/ 2878240 h 3528490"/>
                      <a:gd name="connsiteX15" fmla="*/ 118226 w 2310366"/>
                      <a:gd name="connsiteY15" fmla="*/ 2037490 h 3528490"/>
                      <a:gd name="connsiteX16" fmla="*/ 136047 w 2310366"/>
                      <a:gd name="connsiteY16" fmla="*/ 717940 h 3528490"/>
                      <a:gd name="connsiteX17" fmla="*/ 111876 w 2310366"/>
                      <a:gd name="connsiteY17" fmla="*/ 1533420 h 3528490"/>
                      <a:gd name="connsiteX18" fmla="*/ 136047 w 2310366"/>
                      <a:gd name="connsiteY18"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03749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7821 w 2192140"/>
                      <a:gd name="connsiteY16" fmla="*/ 717940 h 3528490"/>
                      <a:gd name="connsiteX17" fmla="*/ 17821 w 2192140"/>
                      <a:gd name="connsiteY17" fmla="*/ 717940 h 3528490"/>
                      <a:gd name="connsiteX0" fmla="*/ 17821 w 2192140"/>
                      <a:gd name="connsiteY0" fmla="*/ 717940 h 3528490"/>
                      <a:gd name="connsiteX1" fmla="*/ 809934 w 2192140"/>
                      <a:gd name="connsiteY1" fmla="*/ 717940 h 3528490"/>
                      <a:gd name="connsiteX2" fmla="*/ 1097973 w 2192140"/>
                      <a:gd name="connsiteY2" fmla="*/ 0 h 3528490"/>
                      <a:gd name="connsiteX3" fmla="*/ 1400032 w 2192140"/>
                      <a:gd name="connsiteY3" fmla="*/ 726242 h 3528490"/>
                      <a:gd name="connsiteX4" fmla="*/ 2178121 w 2192140"/>
                      <a:gd name="connsiteY4" fmla="*/ 717940 h 3528490"/>
                      <a:gd name="connsiteX5" fmla="*/ 2192140 w 2192140"/>
                      <a:gd name="connsiteY5" fmla="*/ 1438040 h 3528490"/>
                      <a:gd name="connsiteX6" fmla="*/ 2192140 w 2192140"/>
                      <a:gd name="connsiteY6" fmla="*/ 1510050 h 3528490"/>
                      <a:gd name="connsiteX7" fmla="*/ 1530029 w 2192140"/>
                      <a:gd name="connsiteY7" fmla="*/ 1798090 h 3528490"/>
                      <a:gd name="connsiteX8" fmla="*/ 2192140 w 2192140"/>
                      <a:gd name="connsiteY8" fmla="*/ 2086130 h 3528490"/>
                      <a:gd name="connsiteX9" fmla="*/ 2180046 w 2192140"/>
                      <a:gd name="connsiteY9" fmla="*/ 2878240 h 3528490"/>
                      <a:gd name="connsiteX10" fmla="*/ 2178121 w 2192140"/>
                      <a:gd name="connsiteY10" fmla="*/ 2878240 h 3528490"/>
                      <a:gd name="connsiteX11" fmla="*/ 1386009 w 2192140"/>
                      <a:gd name="connsiteY11" fmla="*/ 2878240 h 3528490"/>
                      <a:gd name="connsiteX12" fmla="*/ 1097969 w 2192140"/>
                      <a:gd name="connsiteY12" fmla="*/ 3526330 h 3528490"/>
                      <a:gd name="connsiteX13" fmla="*/ 809929 w 2192140"/>
                      <a:gd name="connsiteY13" fmla="*/ 2880790 h 3528490"/>
                      <a:gd name="connsiteX14" fmla="*/ 17821 w 2192140"/>
                      <a:gd name="connsiteY14" fmla="*/ 2878240 h 3528490"/>
                      <a:gd name="connsiteX15" fmla="*/ 0 w 2192140"/>
                      <a:gd name="connsiteY15" fmla="*/ 2181510 h 3528490"/>
                      <a:gd name="connsiteX16" fmla="*/ 12699 w 2192140"/>
                      <a:gd name="connsiteY16" fmla="*/ 1557960 h 3528490"/>
                      <a:gd name="connsiteX17" fmla="*/ 17821 w 2192140"/>
                      <a:gd name="connsiteY17" fmla="*/ 717940 h 3528490"/>
                      <a:gd name="connsiteX18" fmla="*/ 17821 w 2192140"/>
                      <a:gd name="connsiteY18" fmla="*/ 717940 h 3528490"/>
                      <a:gd name="connsiteX0" fmla="*/ 549106 w 2723425"/>
                      <a:gd name="connsiteY0" fmla="*/ 717940 h 3528490"/>
                      <a:gd name="connsiteX1" fmla="*/ 1341219 w 2723425"/>
                      <a:gd name="connsiteY1" fmla="*/ 717940 h 3528490"/>
                      <a:gd name="connsiteX2" fmla="*/ 1629258 w 2723425"/>
                      <a:gd name="connsiteY2" fmla="*/ 0 h 3528490"/>
                      <a:gd name="connsiteX3" fmla="*/ 1931317 w 2723425"/>
                      <a:gd name="connsiteY3" fmla="*/ 726242 h 3528490"/>
                      <a:gd name="connsiteX4" fmla="*/ 2709406 w 2723425"/>
                      <a:gd name="connsiteY4" fmla="*/ 717940 h 3528490"/>
                      <a:gd name="connsiteX5" fmla="*/ 2723425 w 2723425"/>
                      <a:gd name="connsiteY5" fmla="*/ 1438040 h 3528490"/>
                      <a:gd name="connsiteX6" fmla="*/ 2723425 w 2723425"/>
                      <a:gd name="connsiteY6" fmla="*/ 1510050 h 3528490"/>
                      <a:gd name="connsiteX7" fmla="*/ 2061314 w 2723425"/>
                      <a:gd name="connsiteY7" fmla="*/ 1798090 h 3528490"/>
                      <a:gd name="connsiteX8" fmla="*/ 2723425 w 2723425"/>
                      <a:gd name="connsiteY8" fmla="*/ 2086130 h 3528490"/>
                      <a:gd name="connsiteX9" fmla="*/ 2711331 w 2723425"/>
                      <a:gd name="connsiteY9" fmla="*/ 2878240 h 3528490"/>
                      <a:gd name="connsiteX10" fmla="*/ 2709406 w 2723425"/>
                      <a:gd name="connsiteY10" fmla="*/ 2878240 h 3528490"/>
                      <a:gd name="connsiteX11" fmla="*/ 1917294 w 2723425"/>
                      <a:gd name="connsiteY11" fmla="*/ 2878240 h 3528490"/>
                      <a:gd name="connsiteX12" fmla="*/ 1629254 w 2723425"/>
                      <a:gd name="connsiteY12" fmla="*/ 3526330 h 3528490"/>
                      <a:gd name="connsiteX13" fmla="*/ 1341214 w 2723425"/>
                      <a:gd name="connsiteY13" fmla="*/ 2880790 h 3528490"/>
                      <a:gd name="connsiteX14" fmla="*/ 549106 w 2723425"/>
                      <a:gd name="connsiteY14" fmla="*/ 2878240 h 3528490"/>
                      <a:gd name="connsiteX15" fmla="*/ 531285 w 2723425"/>
                      <a:gd name="connsiteY15" fmla="*/ 2181510 h 3528490"/>
                      <a:gd name="connsiteX16" fmla="*/ 543984 w 2723425"/>
                      <a:gd name="connsiteY16" fmla="*/ 1557960 h 3528490"/>
                      <a:gd name="connsiteX17" fmla="*/ 549106 w 2723425"/>
                      <a:gd name="connsiteY17" fmla="*/ 717940 h 3528490"/>
                      <a:gd name="connsiteX18" fmla="*/ 549106 w 2723425"/>
                      <a:gd name="connsiteY18" fmla="*/ 717940 h 3528490"/>
                      <a:gd name="connsiteX0" fmla="*/ 232166 w 2406485"/>
                      <a:gd name="connsiteY0" fmla="*/ 717940 h 3528490"/>
                      <a:gd name="connsiteX1" fmla="*/ 1024279 w 2406485"/>
                      <a:gd name="connsiteY1" fmla="*/ 717940 h 3528490"/>
                      <a:gd name="connsiteX2" fmla="*/ 1312318 w 2406485"/>
                      <a:gd name="connsiteY2" fmla="*/ 0 h 3528490"/>
                      <a:gd name="connsiteX3" fmla="*/ 1614377 w 2406485"/>
                      <a:gd name="connsiteY3" fmla="*/ 726242 h 3528490"/>
                      <a:gd name="connsiteX4" fmla="*/ 2392466 w 2406485"/>
                      <a:gd name="connsiteY4" fmla="*/ 717940 h 3528490"/>
                      <a:gd name="connsiteX5" fmla="*/ 2406485 w 2406485"/>
                      <a:gd name="connsiteY5" fmla="*/ 1438040 h 3528490"/>
                      <a:gd name="connsiteX6" fmla="*/ 2406485 w 2406485"/>
                      <a:gd name="connsiteY6" fmla="*/ 1510050 h 3528490"/>
                      <a:gd name="connsiteX7" fmla="*/ 1744374 w 2406485"/>
                      <a:gd name="connsiteY7" fmla="*/ 1798090 h 3528490"/>
                      <a:gd name="connsiteX8" fmla="*/ 2406485 w 2406485"/>
                      <a:gd name="connsiteY8" fmla="*/ 2086130 h 3528490"/>
                      <a:gd name="connsiteX9" fmla="*/ 2394391 w 2406485"/>
                      <a:gd name="connsiteY9" fmla="*/ 2878240 h 3528490"/>
                      <a:gd name="connsiteX10" fmla="*/ 2392466 w 2406485"/>
                      <a:gd name="connsiteY10" fmla="*/ 2878240 h 3528490"/>
                      <a:gd name="connsiteX11" fmla="*/ 1600354 w 2406485"/>
                      <a:gd name="connsiteY11" fmla="*/ 2878240 h 3528490"/>
                      <a:gd name="connsiteX12" fmla="*/ 1312314 w 2406485"/>
                      <a:gd name="connsiteY12" fmla="*/ 3526330 h 3528490"/>
                      <a:gd name="connsiteX13" fmla="*/ 1024274 w 2406485"/>
                      <a:gd name="connsiteY13" fmla="*/ 2880790 h 3528490"/>
                      <a:gd name="connsiteX14" fmla="*/ 232166 w 2406485"/>
                      <a:gd name="connsiteY14" fmla="*/ 2878240 h 3528490"/>
                      <a:gd name="connsiteX15" fmla="*/ 214345 w 2406485"/>
                      <a:gd name="connsiteY15" fmla="*/ 2181510 h 3528490"/>
                      <a:gd name="connsiteX16" fmla="*/ 2116 w 2406485"/>
                      <a:gd name="connsiteY16" fmla="*/ 1821460 h 3528490"/>
                      <a:gd name="connsiteX17" fmla="*/ 227044 w 2406485"/>
                      <a:gd name="connsiteY17" fmla="*/ 1557960 h 3528490"/>
                      <a:gd name="connsiteX18" fmla="*/ 232166 w 2406485"/>
                      <a:gd name="connsiteY18" fmla="*/ 717940 h 3528490"/>
                      <a:gd name="connsiteX19" fmla="*/ 232166 w 2406485"/>
                      <a:gd name="connsiteY19" fmla="*/ 717940 h 3528490"/>
                      <a:gd name="connsiteX0" fmla="*/ 650389 w 2824708"/>
                      <a:gd name="connsiteY0" fmla="*/ 717940 h 3528490"/>
                      <a:gd name="connsiteX1" fmla="*/ 1442502 w 2824708"/>
                      <a:gd name="connsiteY1" fmla="*/ 717940 h 3528490"/>
                      <a:gd name="connsiteX2" fmla="*/ 1730541 w 2824708"/>
                      <a:gd name="connsiteY2" fmla="*/ 0 h 3528490"/>
                      <a:gd name="connsiteX3" fmla="*/ 2032600 w 2824708"/>
                      <a:gd name="connsiteY3" fmla="*/ 726242 h 3528490"/>
                      <a:gd name="connsiteX4" fmla="*/ 2810689 w 2824708"/>
                      <a:gd name="connsiteY4" fmla="*/ 717940 h 3528490"/>
                      <a:gd name="connsiteX5" fmla="*/ 2824708 w 2824708"/>
                      <a:gd name="connsiteY5" fmla="*/ 1438040 h 3528490"/>
                      <a:gd name="connsiteX6" fmla="*/ 2824708 w 2824708"/>
                      <a:gd name="connsiteY6" fmla="*/ 1510050 h 3528490"/>
                      <a:gd name="connsiteX7" fmla="*/ 2162597 w 2824708"/>
                      <a:gd name="connsiteY7" fmla="*/ 1798090 h 3528490"/>
                      <a:gd name="connsiteX8" fmla="*/ 2824708 w 2824708"/>
                      <a:gd name="connsiteY8" fmla="*/ 2086130 h 3528490"/>
                      <a:gd name="connsiteX9" fmla="*/ 2812614 w 2824708"/>
                      <a:gd name="connsiteY9" fmla="*/ 2878240 h 3528490"/>
                      <a:gd name="connsiteX10" fmla="*/ 2810689 w 2824708"/>
                      <a:gd name="connsiteY10" fmla="*/ 2878240 h 3528490"/>
                      <a:gd name="connsiteX11" fmla="*/ 2018577 w 2824708"/>
                      <a:gd name="connsiteY11" fmla="*/ 2878240 h 3528490"/>
                      <a:gd name="connsiteX12" fmla="*/ 1730537 w 2824708"/>
                      <a:gd name="connsiteY12" fmla="*/ 3526330 h 3528490"/>
                      <a:gd name="connsiteX13" fmla="*/ 1442497 w 2824708"/>
                      <a:gd name="connsiteY13" fmla="*/ 2880790 h 3528490"/>
                      <a:gd name="connsiteX14" fmla="*/ 650389 w 2824708"/>
                      <a:gd name="connsiteY14" fmla="*/ 2878240 h 3528490"/>
                      <a:gd name="connsiteX15" fmla="*/ 632568 w 2824708"/>
                      <a:gd name="connsiteY15" fmla="*/ 2181510 h 3528490"/>
                      <a:gd name="connsiteX16" fmla="*/ 2116 w 2824708"/>
                      <a:gd name="connsiteY16" fmla="*/ 1821460 h 3528490"/>
                      <a:gd name="connsiteX17" fmla="*/ 645267 w 2824708"/>
                      <a:gd name="connsiteY17" fmla="*/ 1557960 h 3528490"/>
                      <a:gd name="connsiteX18" fmla="*/ 650389 w 2824708"/>
                      <a:gd name="connsiteY18" fmla="*/ 717940 h 3528490"/>
                      <a:gd name="connsiteX19" fmla="*/ 650389 w 2824708"/>
                      <a:gd name="connsiteY19" fmla="*/ 717940 h 3528490"/>
                      <a:gd name="connsiteX0" fmla="*/ 649127 w 2823446"/>
                      <a:gd name="connsiteY0" fmla="*/ 717940 h 3528490"/>
                      <a:gd name="connsiteX1" fmla="*/ 1441240 w 2823446"/>
                      <a:gd name="connsiteY1" fmla="*/ 717940 h 3528490"/>
                      <a:gd name="connsiteX2" fmla="*/ 1729279 w 2823446"/>
                      <a:gd name="connsiteY2" fmla="*/ 0 h 3528490"/>
                      <a:gd name="connsiteX3" fmla="*/ 2031338 w 2823446"/>
                      <a:gd name="connsiteY3" fmla="*/ 726242 h 3528490"/>
                      <a:gd name="connsiteX4" fmla="*/ 2809427 w 2823446"/>
                      <a:gd name="connsiteY4" fmla="*/ 717940 h 3528490"/>
                      <a:gd name="connsiteX5" fmla="*/ 2823446 w 2823446"/>
                      <a:gd name="connsiteY5" fmla="*/ 1438040 h 3528490"/>
                      <a:gd name="connsiteX6" fmla="*/ 2823446 w 2823446"/>
                      <a:gd name="connsiteY6" fmla="*/ 1510050 h 3528490"/>
                      <a:gd name="connsiteX7" fmla="*/ 2161335 w 2823446"/>
                      <a:gd name="connsiteY7" fmla="*/ 1798090 h 3528490"/>
                      <a:gd name="connsiteX8" fmla="*/ 2823446 w 2823446"/>
                      <a:gd name="connsiteY8" fmla="*/ 2086130 h 3528490"/>
                      <a:gd name="connsiteX9" fmla="*/ 2811352 w 2823446"/>
                      <a:gd name="connsiteY9" fmla="*/ 2878240 h 3528490"/>
                      <a:gd name="connsiteX10" fmla="*/ 2809427 w 2823446"/>
                      <a:gd name="connsiteY10" fmla="*/ 2878240 h 3528490"/>
                      <a:gd name="connsiteX11" fmla="*/ 2017315 w 2823446"/>
                      <a:gd name="connsiteY11" fmla="*/ 2878240 h 3528490"/>
                      <a:gd name="connsiteX12" fmla="*/ 1729275 w 2823446"/>
                      <a:gd name="connsiteY12" fmla="*/ 3526330 h 3528490"/>
                      <a:gd name="connsiteX13" fmla="*/ 1441235 w 2823446"/>
                      <a:gd name="connsiteY13" fmla="*/ 2880790 h 3528490"/>
                      <a:gd name="connsiteX14" fmla="*/ 649127 w 2823446"/>
                      <a:gd name="connsiteY14" fmla="*/ 2878240 h 3528490"/>
                      <a:gd name="connsiteX15" fmla="*/ 649126 w 2823446"/>
                      <a:gd name="connsiteY15" fmla="*/ 2109500 h 3528490"/>
                      <a:gd name="connsiteX16" fmla="*/ 854 w 2823446"/>
                      <a:gd name="connsiteY16" fmla="*/ 1821460 h 3528490"/>
                      <a:gd name="connsiteX17" fmla="*/ 644005 w 2823446"/>
                      <a:gd name="connsiteY17" fmla="*/ 1557960 h 3528490"/>
                      <a:gd name="connsiteX18" fmla="*/ 649127 w 2823446"/>
                      <a:gd name="connsiteY18" fmla="*/ 717940 h 3528490"/>
                      <a:gd name="connsiteX19" fmla="*/ 649127 w 2823446"/>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3151 w 2822592"/>
                      <a:gd name="connsiteY17" fmla="*/ 155796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2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2822592"/>
                      <a:gd name="connsiteY0" fmla="*/ 717940 h 3528490"/>
                      <a:gd name="connsiteX1" fmla="*/ 1440386 w 2822592"/>
                      <a:gd name="connsiteY1" fmla="*/ 717940 h 3528490"/>
                      <a:gd name="connsiteX2" fmla="*/ 1728425 w 2822592"/>
                      <a:gd name="connsiteY2" fmla="*/ 0 h 3528490"/>
                      <a:gd name="connsiteX3" fmla="*/ 2030484 w 2822592"/>
                      <a:gd name="connsiteY3" fmla="*/ 726242 h 3528490"/>
                      <a:gd name="connsiteX4" fmla="*/ 2808573 w 2822592"/>
                      <a:gd name="connsiteY4" fmla="*/ 717940 h 3528490"/>
                      <a:gd name="connsiteX5" fmla="*/ 2822592 w 2822592"/>
                      <a:gd name="connsiteY5" fmla="*/ 1438040 h 3528490"/>
                      <a:gd name="connsiteX6" fmla="*/ 2822592 w 2822592"/>
                      <a:gd name="connsiteY6" fmla="*/ 1510050 h 3528490"/>
                      <a:gd name="connsiteX7" fmla="*/ 2160481 w 2822592"/>
                      <a:gd name="connsiteY7" fmla="*/ 1798090 h 3528490"/>
                      <a:gd name="connsiteX8" fmla="*/ 2822592 w 2822592"/>
                      <a:gd name="connsiteY8" fmla="*/ 2086130 h 3528490"/>
                      <a:gd name="connsiteX9" fmla="*/ 2810498 w 2822592"/>
                      <a:gd name="connsiteY9" fmla="*/ 2878240 h 3528490"/>
                      <a:gd name="connsiteX10" fmla="*/ 2808573 w 2822592"/>
                      <a:gd name="connsiteY10" fmla="*/ 2878240 h 3528490"/>
                      <a:gd name="connsiteX11" fmla="*/ 2016461 w 2822592"/>
                      <a:gd name="connsiteY11" fmla="*/ 2878240 h 3528490"/>
                      <a:gd name="connsiteX12" fmla="*/ 1728421 w 2822592"/>
                      <a:gd name="connsiteY12" fmla="*/ 3526330 h 3528490"/>
                      <a:gd name="connsiteX13" fmla="*/ 1440381 w 2822592"/>
                      <a:gd name="connsiteY13" fmla="*/ 2880790 h 3528490"/>
                      <a:gd name="connsiteX14" fmla="*/ 648273 w 2822592"/>
                      <a:gd name="connsiteY14" fmla="*/ 2878240 h 3528490"/>
                      <a:gd name="connsiteX15" fmla="*/ 648273 w 2822592"/>
                      <a:gd name="connsiteY15" fmla="*/ 2109500 h 3528490"/>
                      <a:gd name="connsiteX16" fmla="*/ 0 w 2822592"/>
                      <a:gd name="connsiteY16" fmla="*/ 1821460 h 3528490"/>
                      <a:gd name="connsiteX17" fmla="*/ 648272 w 2822592"/>
                      <a:gd name="connsiteY17" fmla="*/ 1533420 h 3528490"/>
                      <a:gd name="connsiteX18" fmla="*/ 648273 w 2822592"/>
                      <a:gd name="connsiteY18" fmla="*/ 717940 h 3528490"/>
                      <a:gd name="connsiteX19" fmla="*/ 648273 w 2822592"/>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99966"/>
                      <a:gd name="connsiteY0" fmla="*/ 717940 h 3528490"/>
                      <a:gd name="connsiteX1" fmla="*/ 1440386 w 3499966"/>
                      <a:gd name="connsiteY1" fmla="*/ 717940 h 3528490"/>
                      <a:gd name="connsiteX2" fmla="*/ 1728425 w 3499966"/>
                      <a:gd name="connsiteY2" fmla="*/ 0 h 3528490"/>
                      <a:gd name="connsiteX3" fmla="*/ 2030484 w 3499966"/>
                      <a:gd name="connsiteY3" fmla="*/ 726242 h 3528490"/>
                      <a:gd name="connsiteX4" fmla="*/ 2808573 w 3499966"/>
                      <a:gd name="connsiteY4" fmla="*/ 717940 h 3528490"/>
                      <a:gd name="connsiteX5" fmla="*/ 2822592 w 3499966"/>
                      <a:gd name="connsiteY5" fmla="*/ 1438040 h 3528490"/>
                      <a:gd name="connsiteX6" fmla="*/ 2822592 w 3499966"/>
                      <a:gd name="connsiteY6" fmla="*/ 1510050 h 3528490"/>
                      <a:gd name="connsiteX7" fmla="*/ 3442642 w 3499966"/>
                      <a:gd name="connsiteY7" fmla="*/ 1821461 h 3528490"/>
                      <a:gd name="connsiteX8" fmla="*/ 2822592 w 3499966"/>
                      <a:gd name="connsiteY8" fmla="*/ 2086130 h 3528490"/>
                      <a:gd name="connsiteX9" fmla="*/ 2810498 w 3499966"/>
                      <a:gd name="connsiteY9" fmla="*/ 2878240 h 3528490"/>
                      <a:gd name="connsiteX10" fmla="*/ 2808573 w 3499966"/>
                      <a:gd name="connsiteY10" fmla="*/ 2878240 h 3528490"/>
                      <a:gd name="connsiteX11" fmla="*/ 2016461 w 3499966"/>
                      <a:gd name="connsiteY11" fmla="*/ 2878240 h 3528490"/>
                      <a:gd name="connsiteX12" fmla="*/ 1728421 w 3499966"/>
                      <a:gd name="connsiteY12" fmla="*/ 3526330 h 3528490"/>
                      <a:gd name="connsiteX13" fmla="*/ 1440381 w 3499966"/>
                      <a:gd name="connsiteY13" fmla="*/ 2880790 h 3528490"/>
                      <a:gd name="connsiteX14" fmla="*/ 648273 w 3499966"/>
                      <a:gd name="connsiteY14" fmla="*/ 2878240 h 3528490"/>
                      <a:gd name="connsiteX15" fmla="*/ 648273 w 3499966"/>
                      <a:gd name="connsiteY15" fmla="*/ 2109500 h 3528490"/>
                      <a:gd name="connsiteX16" fmla="*/ 0 w 3499966"/>
                      <a:gd name="connsiteY16" fmla="*/ 1821460 h 3528490"/>
                      <a:gd name="connsiteX17" fmla="*/ 648272 w 3499966"/>
                      <a:gd name="connsiteY17" fmla="*/ 1533420 h 3528490"/>
                      <a:gd name="connsiteX18" fmla="*/ 648273 w 3499966"/>
                      <a:gd name="connsiteY18" fmla="*/ 717940 h 3528490"/>
                      <a:gd name="connsiteX19" fmla="*/ 648273 w 3499966"/>
                      <a:gd name="connsiteY19" fmla="*/ 717940 h 3528490"/>
                      <a:gd name="connsiteX0" fmla="*/ 648273 w 3475582"/>
                      <a:gd name="connsiteY0" fmla="*/ 717940 h 3528490"/>
                      <a:gd name="connsiteX1" fmla="*/ 1440386 w 3475582"/>
                      <a:gd name="connsiteY1" fmla="*/ 717940 h 3528490"/>
                      <a:gd name="connsiteX2" fmla="*/ 1728425 w 3475582"/>
                      <a:gd name="connsiteY2" fmla="*/ 0 h 3528490"/>
                      <a:gd name="connsiteX3" fmla="*/ 2030484 w 3475582"/>
                      <a:gd name="connsiteY3" fmla="*/ 726242 h 3528490"/>
                      <a:gd name="connsiteX4" fmla="*/ 2808573 w 3475582"/>
                      <a:gd name="connsiteY4" fmla="*/ 717940 h 3528490"/>
                      <a:gd name="connsiteX5" fmla="*/ 2822592 w 3475582"/>
                      <a:gd name="connsiteY5" fmla="*/ 1438040 h 3528490"/>
                      <a:gd name="connsiteX6" fmla="*/ 2822592 w 3475582"/>
                      <a:gd name="connsiteY6" fmla="*/ 1510050 h 3528490"/>
                      <a:gd name="connsiteX7" fmla="*/ 3418258 w 3475582"/>
                      <a:gd name="connsiteY7" fmla="*/ 1821462 h 3528490"/>
                      <a:gd name="connsiteX8" fmla="*/ 2822592 w 3475582"/>
                      <a:gd name="connsiteY8" fmla="*/ 2086130 h 3528490"/>
                      <a:gd name="connsiteX9" fmla="*/ 2810498 w 3475582"/>
                      <a:gd name="connsiteY9" fmla="*/ 2878240 h 3528490"/>
                      <a:gd name="connsiteX10" fmla="*/ 2808573 w 3475582"/>
                      <a:gd name="connsiteY10" fmla="*/ 2878240 h 3528490"/>
                      <a:gd name="connsiteX11" fmla="*/ 2016461 w 3475582"/>
                      <a:gd name="connsiteY11" fmla="*/ 2878240 h 3528490"/>
                      <a:gd name="connsiteX12" fmla="*/ 1728421 w 3475582"/>
                      <a:gd name="connsiteY12" fmla="*/ 3526330 h 3528490"/>
                      <a:gd name="connsiteX13" fmla="*/ 1440381 w 3475582"/>
                      <a:gd name="connsiteY13" fmla="*/ 2880790 h 3528490"/>
                      <a:gd name="connsiteX14" fmla="*/ 648273 w 3475582"/>
                      <a:gd name="connsiteY14" fmla="*/ 2878240 h 3528490"/>
                      <a:gd name="connsiteX15" fmla="*/ 648273 w 3475582"/>
                      <a:gd name="connsiteY15" fmla="*/ 2109500 h 3528490"/>
                      <a:gd name="connsiteX16" fmla="*/ 0 w 3475582"/>
                      <a:gd name="connsiteY16" fmla="*/ 1821460 h 3528490"/>
                      <a:gd name="connsiteX17" fmla="*/ 648272 w 3475582"/>
                      <a:gd name="connsiteY17" fmla="*/ 1533420 h 3528490"/>
                      <a:gd name="connsiteX18" fmla="*/ 648273 w 3475582"/>
                      <a:gd name="connsiteY18" fmla="*/ 717940 h 3528490"/>
                      <a:gd name="connsiteX19" fmla="*/ 648273 w 3475582"/>
                      <a:gd name="connsiteY19" fmla="*/ 717940 h 3528490"/>
                      <a:gd name="connsiteX0" fmla="*/ 648273 w 3532906"/>
                      <a:gd name="connsiteY0" fmla="*/ 717940 h 3528490"/>
                      <a:gd name="connsiteX1" fmla="*/ 1440386 w 3532906"/>
                      <a:gd name="connsiteY1" fmla="*/ 717940 h 3528490"/>
                      <a:gd name="connsiteX2" fmla="*/ 1728425 w 3532906"/>
                      <a:gd name="connsiteY2" fmla="*/ 0 h 3528490"/>
                      <a:gd name="connsiteX3" fmla="*/ 2030484 w 3532906"/>
                      <a:gd name="connsiteY3" fmla="*/ 726242 h 3528490"/>
                      <a:gd name="connsiteX4" fmla="*/ 2808573 w 3532906"/>
                      <a:gd name="connsiteY4" fmla="*/ 717940 h 3528490"/>
                      <a:gd name="connsiteX5" fmla="*/ 2822592 w 3532906"/>
                      <a:gd name="connsiteY5" fmla="*/ 1438040 h 3528490"/>
                      <a:gd name="connsiteX6" fmla="*/ 2822592 w 3532906"/>
                      <a:gd name="connsiteY6" fmla="*/ 1510050 h 3528490"/>
                      <a:gd name="connsiteX7" fmla="*/ 3475582 w 3532906"/>
                      <a:gd name="connsiteY7" fmla="*/ 1821462 h 3528490"/>
                      <a:gd name="connsiteX8" fmla="*/ 2822592 w 3532906"/>
                      <a:gd name="connsiteY8" fmla="*/ 2086130 h 3528490"/>
                      <a:gd name="connsiteX9" fmla="*/ 2810498 w 3532906"/>
                      <a:gd name="connsiteY9" fmla="*/ 2878240 h 3528490"/>
                      <a:gd name="connsiteX10" fmla="*/ 2808573 w 3532906"/>
                      <a:gd name="connsiteY10" fmla="*/ 2878240 h 3528490"/>
                      <a:gd name="connsiteX11" fmla="*/ 2016461 w 3532906"/>
                      <a:gd name="connsiteY11" fmla="*/ 2878240 h 3528490"/>
                      <a:gd name="connsiteX12" fmla="*/ 1728421 w 3532906"/>
                      <a:gd name="connsiteY12" fmla="*/ 3526330 h 3528490"/>
                      <a:gd name="connsiteX13" fmla="*/ 1440381 w 3532906"/>
                      <a:gd name="connsiteY13" fmla="*/ 2880790 h 3528490"/>
                      <a:gd name="connsiteX14" fmla="*/ 648273 w 3532906"/>
                      <a:gd name="connsiteY14" fmla="*/ 2878240 h 3528490"/>
                      <a:gd name="connsiteX15" fmla="*/ 648273 w 3532906"/>
                      <a:gd name="connsiteY15" fmla="*/ 2109500 h 3528490"/>
                      <a:gd name="connsiteX16" fmla="*/ 0 w 3532906"/>
                      <a:gd name="connsiteY16" fmla="*/ 1821460 h 3528490"/>
                      <a:gd name="connsiteX17" fmla="*/ 648272 w 3532906"/>
                      <a:gd name="connsiteY17" fmla="*/ 1533420 h 3528490"/>
                      <a:gd name="connsiteX18" fmla="*/ 648273 w 3532906"/>
                      <a:gd name="connsiteY18" fmla="*/ 717940 h 3528490"/>
                      <a:gd name="connsiteX19" fmla="*/ 648273 w 3532906"/>
                      <a:gd name="connsiteY19" fmla="*/ 717940 h 3528490"/>
                      <a:gd name="connsiteX0" fmla="*/ 648273 w 3518925"/>
                      <a:gd name="connsiteY0" fmla="*/ 717940 h 3528490"/>
                      <a:gd name="connsiteX1" fmla="*/ 1440386 w 3518925"/>
                      <a:gd name="connsiteY1" fmla="*/ 717940 h 3528490"/>
                      <a:gd name="connsiteX2" fmla="*/ 1728425 w 3518925"/>
                      <a:gd name="connsiteY2" fmla="*/ 0 h 3528490"/>
                      <a:gd name="connsiteX3" fmla="*/ 2030484 w 3518925"/>
                      <a:gd name="connsiteY3" fmla="*/ 726242 h 3528490"/>
                      <a:gd name="connsiteX4" fmla="*/ 2808573 w 3518925"/>
                      <a:gd name="connsiteY4" fmla="*/ 717940 h 3528490"/>
                      <a:gd name="connsiteX5" fmla="*/ 2822592 w 3518925"/>
                      <a:gd name="connsiteY5" fmla="*/ 1438040 h 3528490"/>
                      <a:gd name="connsiteX6" fmla="*/ 2822592 w 3518925"/>
                      <a:gd name="connsiteY6" fmla="*/ 1510050 h 3528490"/>
                      <a:gd name="connsiteX7" fmla="*/ 3475582 w 3518925"/>
                      <a:gd name="connsiteY7" fmla="*/ 1821462 h 3528490"/>
                      <a:gd name="connsiteX8" fmla="*/ 2822592 w 3518925"/>
                      <a:gd name="connsiteY8" fmla="*/ 2086130 h 3528490"/>
                      <a:gd name="connsiteX9" fmla="*/ 2810498 w 3518925"/>
                      <a:gd name="connsiteY9" fmla="*/ 2878240 h 3528490"/>
                      <a:gd name="connsiteX10" fmla="*/ 2808573 w 3518925"/>
                      <a:gd name="connsiteY10" fmla="*/ 2878240 h 3528490"/>
                      <a:gd name="connsiteX11" fmla="*/ 2016461 w 3518925"/>
                      <a:gd name="connsiteY11" fmla="*/ 2878240 h 3528490"/>
                      <a:gd name="connsiteX12" fmla="*/ 1728421 w 3518925"/>
                      <a:gd name="connsiteY12" fmla="*/ 3526330 h 3528490"/>
                      <a:gd name="connsiteX13" fmla="*/ 1440381 w 3518925"/>
                      <a:gd name="connsiteY13" fmla="*/ 2880790 h 3528490"/>
                      <a:gd name="connsiteX14" fmla="*/ 648273 w 3518925"/>
                      <a:gd name="connsiteY14" fmla="*/ 2878240 h 3528490"/>
                      <a:gd name="connsiteX15" fmla="*/ 648273 w 3518925"/>
                      <a:gd name="connsiteY15" fmla="*/ 2109500 h 3528490"/>
                      <a:gd name="connsiteX16" fmla="*/ 0 w 3518925"/>
                      <a:gd name="connsiteY16" fmla="*/ 1821460 h 3528490"/>
                      <a:gd name="connsiteX17" fmla="*/ 648272 w 3518925"/>
                      <a:gd name="connsiteY17" fmla="*/ 1533420 h 3528490"/>
                      <a:gd name="connsiteX18" fmla="*/ 648273 w 3518925"/>
                      <a:gd name="connsiteY18" fmla="*/ 717940 h 3528490"/>
                      <a:gd name="connsiteX19" fmla="*/ 648273 w 3518925"/>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 name="connsiteX0" fmla="*/ 648273 w 3480809"/>
                      <a:gd name="connsiteY0" fmla="*/ 717940 h 3528490"/>
                      <a:gd name="connsiteX1" fmla="*/ 1440386 w 3480809"/>
                      <a:gd name="connsiteY1" fmla="*/ 717940 h 3528490"/>
                      <a:gd name="connsiteX2" fmla="*/ 1728425 w 3480809"/>
                      <a:gd name="connsiteY2" fmla="*/ 0 h 3528490"/>
                      <a:gd name="connsiteX3" fmla="*/ 2030484 w 3480809"/>
                      <a:gd name="connsiteY3" fmla="*/ 726242 h 3528490"/>
                      <a:gd name="connsiteX4" fmla="*/ 2808573 w 3480809"/>
                      <a:gd name="connsiteY4" fmla="*/ 717940 h 3528490"/>
                      <a:gd name="connsiteX5" fmla="*/ 2822592 w 3480809"/>
                      <a:gd name="connsiteY5" fmla="*/ 1438040 h 3528490"/>
                      <a:gd name="connsiteX6" fmla="*/ 2822592 w 3480809"/>
                      <a:gd name="connsiteY6" fmla="*/ 1510050 h 3528490"/>
                      <a:gd name="connsiteX7" fmla="*/ 3475582 w 3480809"/>
                      <a:gd name="connsiteY7" fmla="*/ 1821462 h 3528490"/>
                      <a:gd name="connsiteX8" fmla="*/ 2822592 w 3480809"/>
                      <a:gd name="connsiteY8" fmla="*/ 2086130 h 3528490"/>
                      <a:gd name="connsiteX9" fmla="*/ 2810498 w 3480809"/>
                      <a:gd name="connsiteY9" fmla="*/ 2878240 h 3528490"/>
                      <a:gd name="connsiteX10" fmla="*/ 2808573 w 3480809"/>
                      <a:gd name="connsiteY10" fmla="*/ 2878240 h 3528490"/>
                      <a:gd name="connsiteX11" fmla="*/ 2016461 w 3480809"/>
                      <a:gd name="connsiteY11" fmla="*/ 2878240 h 3528490"/>
                      <a:gd name="connsiteX12" fmla="*/ 1728421 w 3480809"/>
                      <a:gd name="connsiteY12" fmla="*/ 3526330 h 3528490"/>
                      <a:gd name="connsiteX13" fmla="*/ 1440381 w 3480809"/>
                      <a:gd name="connsiteY13" fmla="*/ 2880790 h 3528490"/>
                      <a:gd name="connsiteX14" fmla="*/ 648273 w 3480809"/>
                      <a:gd name="connsiteY14" fmla="*/ 2878240 h 3528490"/>
                      <a:gd name="connsiteX15" fmla="*/ 648273 w 3480809"/>
                      <a:gd name="connsiteY15" fmla="*/ 2109500 h 3528490"/>
                      <a:gd name="connsiteX16" fmla="*/ 0 w 3480809"/>
                      <a:gd name="connsiteY16" fmla="*/ 1821460 h 3528490"/>
                      <a:gd name="connsiteX17" fmla="*/ 648272 w 3480809"/>
                      <a:gd name="connsiteY17" fmla="*/ 1533420 h 3528490"/>
                      <a:gd name="connsiteX18" fmla="*/ 648273 w 3480809"/>
                      <a:gd name="connsiteY18" fmla="*/ 717940 h 3528490"/>
                      <a:gd name="connsiteX19" fmla="*/ 648273 w 3480809"/>
                      <a:gd name="connsiteY19"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80809" h="3528490">
                        <a:moveTo>
                          <a:pt x="648273" y="717940"/>
                        </a:moveTo>
                        <a:lnTo>
                          <a:pt x="1440386" y="717940"/>
                        </a:lnTo>
                        <a:cubicBezTo>
                          <a:pt x="1541636" y="632383"/>
                          <a:pt x="1069920" y="35191"/>
                          <a:pt x="1728425" y="0"/>
                        </a:cubicBezTo>
                        <a:cubicBezTo>
                          <a:pt x="2317159" y="80045"/>
                          <a:pt x="2056629" y="469512"/>
                          <a:pt x="2030484" y="726242"/>
                        </a:cubicBezTo>
                        <a:lnTo>
                          <a:pt x="2808573" y="717940"/>
                        </a:lnTo>
                        <a:lnTo>
                          <a:pt x="2822592" y="1438040"/>
                        </a:lnTo>
                        <a:lnTo>
                          <a:pt x="2822592" y="1510050"/>
                        </a:lnTo>
                        <a:cubicBezTo>
                          <a:pt x="2820319" y="1684145"/>
                          <a:pt x="3478431" y="1144330"/>
                          <a:pt x="3475582" y="1821462"/>
                        </a:cubicBezTo>
                        <a:cubicBezTo>
                          <a:pt x="3480809" y="2438159"/>
                          <a:pt x="2825231" y="2071855"/>
                          <a:pt x="2822592" y="2086130"/>
                        </a:cubicBezTo>
                        <a:cubicBezTo>
                          <a:pt x="2822340" y="2381300"/>
                          <a:pt x="2814529" y="2590200"/>
                          <a:pt x="2810498" y="2878240"/>
                        </a:cubicBezTo>
                        <a:cubicBezTo>
                          <a:pt x="2810497" y="2870497"/>
                          <a:pt x="2822592" y="2052696"/>
                          <a:pt x="2808573" y="2878240"/>
                        </a:cubicBezTo>
                        <a:lnTo>
                          <a:pt x="2016461" y="2878240"/>
                        </a:lnTo>
                        <a:cubicBezTo>
                          <a:pt x="1916014" y="2878240"/>
                          <a:pt x="2345218" y="3528490"/>
                          <a:pt x="1728421" y="3526330"/>
                        </a:cubicBezTo>
                        <a:cubicBezTo>
                          <a:pt x="1106781" y="3526330"/>
                          <a:pt x="1531961" y="2880790"/>
                          <a:pt x="1440381" y="2880790"/>
                        </a:cubicBezTo>
                        <a:lnTo>
                          <a:pt x="648273" y="2878240"/>
                        </a:lnTo>
                        <a:lnTo>
                          <a:pt x="648273" y="2109500"/>
                        </a:lnTo>
                        <a:cubicBezTo>
                          <a:pt x="544933" y="1987817"/>
                          <a:pt x="21707" y="2471063"/>
                          <a:pt x="0" y="1821460"/>
                        </a:cubicBezTo>
                        <a:cubicBezTo>
                          <a:pt x="27202" y="1137997"/>
                          <a:pt x="607202" y="1722107"/>
                          <a:pt x="648272" y="1533420"/>
                        </a:cubicBezTo>
                        <a:cubicBezTo>
                          <a:pt x="649979" y="1253413"/>
                          <a:pt x="646566" y="997947"/>
                          <a:pt x="648273" y="717940"/>
                        </a:cubicBezTo>
                        <a:lnTo>
                          <a:pt x="648273" y="717940"/>
                        </a:lnTo>
                        <a:close/>
                      </a:path>
                    </a:pathLst>
                  </a:custGeom>
                  <a:solidFill>
                    <a:schemeClr val="tx2"/>
                  </a:solidFill>
                  <a:ln>
                    <a:solidFill>
                      <a:srgbClr val="409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6" name="Freihandform 115"/>
                  <p:cNvSpPr/>
                  <p:nvPr/>
                </p:nvSpPr>
                <p:spPr>
                  <a:xfrm rot="5400000">
                    <a:off x="3083452" y="-16981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7" name="Freihandform 116"/>
                  <p:cNvSpPr/>
                  <p:nvPr/>
                </p:nvSpPr>
                <p:spPr>
                  <a:xfrm rot="10800000">
                    <a:off x="5243998" y="501255"/>
                    <a:ext cx="2174360" cy="216285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28740 h 2810550"/>
                      <a:gd name="connsiteX13" fmla="*/ 40 w 2174359"/>
                      <a:gd name="connsiteY13" fmla="*/ 0 h 2810550"/>
                      <a:gd name="connsiteX0" fmla="*/ 40 w 2174359"/>
                      <a:gd name="connsiteY0" fmla="*/ 0 h 2810550"/>
                      <a:gd name="connsiteX1" fmla="*/ 2160340 w 2174359"/>
                      <a:gd name="connsiteY1" fmla="*/ 0 h 2810550"/>
                      <a:gd name="connsiteX2" fmla="*/ 2174359 w 2174359"/>
                      <a:gd name="connsiteY2" fmla="*/ 720100 h 2810550"/>
                      <a:gd name="connsiteX3" fmla="*/ 2174359 w 2174359"/>
                      <a:gd name="connsiteY3" fmla="*/ 792110 h 2810550"/>
                      <a:gd name="connsiteX4" fmla="*/ 1512248 w 2174359"/>
                      <a:gd name="connsiteY4" fmla="*/ 1080150 h 2810550"/>
                      <a:gd name="connsiteX5" fmla="*/ 2174359 w 2174359"/>
                      <a:gd name="connsiteY5" fmla="*/ 1368190 h 2810550"/>
                      <a:gd name="connsiteX6" fmla="*/ 2162265 w 2174359"/>
                      <a:gd name="connsiteY6" fmla="*/ 2160300 h 2810550"/>
                      <a:gd name="connsiteX7" fmla="*/ 2160340 w 2174359"/>
                      <a:gd name="connsiteY7" fmla="*/ 2160300 h 2810550"/>
                      <a:gd name="connsiteX8" fmla="*/ 1368228 w 2174359"/>
                      <a:gd name="connsiteY8" fmla="*/ 2160300 h 2810550"/>
                      <a:gd name="connsiteX9" fmla="*/ 1080188 w 2174359"/>
                      <a:gd name="connsiteY9" fmla="*/ 2808390 h 2810550"/>
                      <a:gd name="connsiteX10" fmla="*/ 792148 w 2174359"/>
                      <a:gd name="connsiteY10" fmla="*/ 2162850 h 2810550"/>
                      <a:gd name="connsiteX11" fmla="*/ 40 w 2174359"/>
                      <a:gd name="connsiteY11" fmla="*/ 2160300 h 2810550"/>
                      <a:gd name="connsiteX12" fmla="*/ 0 w 2174359"/>
                      <a:gd name="connsiteY12" fmla="*/ 1008140 h 2810550"/>
                      <a:gd name="connsiteX13" fmla="*/ 40 w 2174359"/>
                      <a:gd name="connsiteY13" fmla="*/ 0 h 2810550"/>
                      <a:gd name="connsiteX0" fmla="*/ 40 w 2174359"/>
                      <a:gd name="connsiteY0" fmla="*/ 0 h 2176480"/>
                      <a:gd name="connsiteX1" fmla="*/ 2160340 w 2174359"/>
                      <a:gd name="connsiteY1" fmla="*/ 0 h 2176480"/>
                      <a:gd name="connsiteX2" fmla="*/ 2174359 w 2174359"/>
                      <a:gd name="connsiteY2" fmla="*/ 720100 h 2176480"/>
                      <a:gd name="connsiteX3" fmla="*/ 2174359 w 2174359"/>
                      <a:gd name="connsiteY3" fmla="*/ 792110 h 2176480"/>
                      <a:gd name="connsiteX4" fmla="*/ 1512248 w 2174359"/>
                      <a:gd name="connsiteY4" fmla="*/ 1080150 h 2176480"/>
                      <a:gd name="connsiteX5" fmla="*/ 2174359 w 2174359"/>
                      <a:gd name="connsiteY5" fmla="*/ 1368190 h 2176480"/>
                      <a:gd name="connsiteX6" fmla="*/ 2162265 w 2174359"/>
                      <a:gd name="connsiteY6" fmla="*/ 2160300 h 2176480"/>
                      <a:gd name="connsiteX7" fmla="*/ 2160340 w 2174359"/>
                      <a:gd name="connsiteY7" fmla="*/ 2160300 h 2176480"/>
                      <a:gd name="connsiteX8" fmla="*/ 1368228 w 2174359"/>
                      <a:gd name="connsiteY8" fmla="*/ 2160300 h 2176480"/>
                      <a:gd name="connsiteX9" fmla="*/ 1022159 w 2174359"/>
                      <a:gd name="connsiteY9" fmla="*/ 2174320 h 2176480"/>
                      <a:gd name="connsiteX10" fmla="*/ 792148 w 2174359"/>
                      <a:gd name="connsiteY10" fmla="*/ 2162850 h 2176480"/>
                      <a:gd name="connsiteX11" fmla="*/ 40 w 2174359"/>
                      <a:gd name="connsiteY11" fmla="*/ 2160300 h 2176480"/>
                      <a:gd name="connsiteX12" fmla="*/ 0 w 2174359"/>
                      <a:gd name="connsiteY12" fmla="*/ 1008140 h 2176480"/>
                      <a:gd name="connsiteX13" fmla="*/ 40 w 2174359"/>
                      <a:gd name="connsiteY13" fmla="*/ 0 h 2176480"/>
                      <a:gd name="connsiteX0" fmla="*/ 40 w 2174359"/>
                      <a:gd name="connsiteY0" fmla="*/ 0 h 2162850"/>
                      <a:gd name="connsiteX1" fmla="*/ 2160340 w 2174359"/>
                      <a:gd name="connsiteY1" fmla="*/ 0 h 2162850"/>
                      <a:gd name="connsiteX2" fmla="*/ 2174359 w 2174359"/>
                      <a:gd name="connsiteY2" fmla="*/ 720100 h 2162850"/>
                      <a:gd name="connsiteX3" fmla="*/ 2174359 w 2174359"/>
                      <a:gd name="connsiteY3" fmla="*/ 792110 h 2162850"/>
                      <a:gd name="connsiteX4" fmla="*/ 1512248 w 2174359"/>
                      <a:gd name="connsiteY4" fmla="*/ 1080150 h 2162850"/>
                      <a:gd name="connsiteX5" fmla="*/ 2174359 w 2174359"/>
                      <a:gd name="connsiteY5" fmla="*/ 1368190 h 2162850"/>
                      <a:gd name="connsiteX6" fmla="*/ 2162265 w 2174359"/>
                      <a:gd name="connsiteY6" fmla="*/ 2160300 h 2162850"/>
                      <a:gd name="connsiteX7" fmla="*/ 2160340 w 2174359"/>
                      <a:gd name="connsiteY7" fmla="*/ 2160300 h 2162850"/>
                      <a:gd name="connsiteX8" fmla="*/ 1368228 w 2174359"/>
                      <a:gd name="connsiteY8" fmla="*/ 2160300 h 2162850"/>
                      <a:gd name="connsiteX9" fmla="*/ 792148 w 2174359"/>
                      <a:gd name="connsiteY9" fmla="*/ 2162850 h 2162850"/>
                      <a:gd name="connsiteX10" fmla="*/ 40 w 2174359"/>
                      <a:gd name="connsiteY10" fmla="*/ 2160300 h 2162850"/>
                      <a:gd name="connsiteX11" fmla="*/ 0 w 2174359"/>
                      <a:gd name="connsiteY11" fmla="*/ 1008140 h 2162850"/>
                      <a:gd name="connsiteX12" fmla="*/ 40 w 2174359"/>
                      <a:gd name="connsiteY12" fmla="*/ 0 h 216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4359" h="2162850">
                        <a:moveTo>
                          <a:pt x="40" y="0"/>
                        </a:moveTo>
                        <a:lnTo>
                          <a:pt x="2160340" y="0"/>
                        </a:lnTo>
                        <a:lnTo>
                          <a:pt x="2174359" y="720100"/>
                        </a:lnTo>
                        <a:lnTo>
                          <a:pt x="2174359" y="792110"/>
                        </a:lnTo>
                        <a:cubicBezTo>
                          <a:pt x="2127373" y="905666"/>
                          <a:pt x="1555591" y="424034"/>
                          <a:pt x="1512248" y="1080150"/>
                        </a:cubicBezTo>
                        <a:cubicBezTo>
                          <a:pt x="1569572" y="1704356"/>
                          <a:pt x="2060334" y="1244385"/>
                          <a:pt x="2174359" y="1368190"/>
                        </a:cubicBezTo>
                        <a:cubicBezTo>
                          <a:pt x="2174107" y="1663360"/>
                          <a:pt x="2166296" y="1872260"/>
                          <a:pt x="2162265" y="2160300"/>
                        </a:cubicBezTo>
                        <a:cubicBezTo>
                          <a:pt x="2162264" y="2152557"/>
                          <a:pt x="2174359" y="1334756"/>
                          <a:pt x="2160340" y="2160300"/>
                        </a:cubicBezTo>
                        <a:lnTo>
                          <a:pt x="1368228" y="2160300"/>
                        </a:lnTo>
                        <a:lnTo>
                          <a:pt x="792148" y="2162850"/>
                        </a:lnTo>
                        <a:lnTo>
                          <a:pt x="40" y="2160300"/>
                        </a:lnTo>
                        <a:cubicBezTo>
                          <a:pt x="27" y="1783113"/>
                          <a:pt x="13" y="1385327"/>
                          <a:pt x="0" y="1008140"/>
                        </a:cubicBezTo>
                        <a:cubicBezTo>
                          <a:pt x="13" y="665227"/>
                          <a:pt x="27" y="342913"/>
                          <a:pt x="40" y="0"/>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8" name="Freihandform 117"/>
                  <p:cNvSpPr/>
                  <p:nvPr/>
                </p:nvSpPr>
                <p:spPr>
                  <a:xfrm>
                    <a:off x="911540" y="1954502"/>
                    <a:ext cx="2185085" cy="281665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5520 w 2174319"/>
                      <a:gd name="connsiteY15" fmla="*/ 1719503 h 2816656"/>
                      <a:gd name="connsiteX16" fmla="*/ 0 w 2174319"/>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10355 w 2184674"/>
                      <a:gd name="connsiteY0" fmla="*/ 653806 h 2816656"/>
                      <a:gd name="connsiteX1" fmla="*/ 802468 w 2184674"/>
                      <a:gd name="connsiteY1" fmla="*/ 653806 h 2816656"/>
                      <a:gd name="connsiteX2" fmla="*/ 1104523 w 2184674"/>
                      <a:gd name="connsiteY2" fmla="*/ 0 h 2816656"/>
                      <a:gd name="connsiteX3" fmla="*/ 1392566 w 2184674"/>
                      <a:gd name="connsiteY3" fmla="*/ 662108 h 2816656"/>
                      <a:gd name="connsiteX4" fmla="*/ 2170655 w 2184674"/>
                      <a:gd name="connsiteY4" fmla="*/ 653806 h 2816656"/>
                      <a:gd name="connsiteX5" fmla="*/ 2184674 w 2184674"/>
                      <a:gd name="connsiteY5" fmla="*/ 1373906 h 2816656"/>
                      <a:gd name="connsiteX6" fmla="*/ 2184674 w 2184674"/>
                      <a:gd name="connsiteY6" fmla="*/ 1445916 h 2816656"/>
                      <a:gd name="connsiteX7" fmla="*/ 1522563 w 2184674"/>
                      <a:gd name="connsiteY7" fmla="*/ 1733956 h 2816656"/>
                      <a:gd name="connsiteX8" fmla="*/ 2184674 w 2184674"/>
                      <a:gd name="connsiteY8" fmla="*/ 2021996 h 2816656"/>
                      <a:gd name="connsiteX9" fmla="*/ 2172580 w 2184674"/>
                      <a:gd name="connsiteY9" fmla="*/ 2814106 h 2816656"/>
                      <a:gd name="connsiteX10" fmla="*/ 2170655 w 2184674"/>
                      <a:gd name="connsiteY10" fmla="*/ 2814106 h 2816656"/>
                      <a:gd name="connsiteX11" fmla="*/ 1378543 w 2184674"/>
                      <a:gd name="connsiteY11" fmla="*/ 2814106 h 2816656"/>
                      <a:gd name="connsiteX12" fmla="*/ 1090507 w 2184674"/>
                      <a:gd name="connsiteY12" fmla="*/ 2096167 h 2816656"/>
                      <a:gd name="connsiteX13" fmla="*/ 802463 w 2184674"/>
                      <a:gd name="connsiteY13" fmla="*/ 2816656 h 2816656"/>
                      <a:gd name="connsiteX14" fmla="*/ 10355 w 2184674"/>
                      <a:gd name="connsiteY14" fmla="*/ 2814106 h 2816656"/>
                      <a:gd name="connsiteX15" fmla="*/ 7872 w 2184674"/>
                      <a:gd name="connsiteY15" fmla="*/ 1883795 h 2816656"/>
                      <a:gd name="connsiteX16" fmla="*/ 10355 w 2184674"/>
                      <a:gd name="connsiteY16" fmla="*/ 653806 h 2816656"/>
                      <a:gd name="connsiteX0" fmla="*/ 7919 w 2182238"/>
                      <a:gd name="connsiteY0" fmla="*/ 653806 h 2816656"/>
                      <a:gd name="connsiteX1" fmla="*/ 800032 w 2182238"/>
                      <a:gd name="connsiteY1" fmla="*/ 653806 h 2816656"/>
                      <a:gd name="connsiteX2" fmla="*/ 1102087 w 2182238"/>
                      <a:gd name="connsiteY2" fmla="*/ 0 h 2816656"/>
                      <a:gd name="connsiteX3" fmla="*/ 1390130 w 2182238"/>
                      <a:gd name="connsiteY3" fmla="*/ 662108 h 2816656"/>
                      <a:gd name="connsiteX4" fmla="*/ 2168219 w 2182238"/>
                      <a:gd name="connsiteY4" fmla="*/ 653806 h 2816656"/>
                      <a:gd name="connsiteX5" fmla="*/ 2182238 w 2182238"/>
                      <a:gd name="connsiteY5" fmla="*/ 1373906 h 2816656"/>
                      <a:gd name="connsiteX6" fmla="*/ 2182238 w 2182238"/>
                      <a:gd name="connsiteY6" fmla="*/ 1445916 h 2816656"/>
                      <a:gd name="connsiteX7" fmla="*/ 1520127 w 2182238"/>
                      <a:gd name="connsiteY7" fmla="*/ 1733956 h 2816656"/>
                      <a:gd name="connsiteX8" fmla="*/ 2182238 w 2182238"/>
                      <a:gd name="connsiteY8" fmla="*/ 2021996 h 2816656"/>
                      <a:gd name="connsiteX9" fmla="*/ 2170144 w 2182238"/>
                      <a:gd name="connsiteY9" fmla="*/ 2814106 h 2816656"/>
                      <a:gd name="connsiteX10" fmla="*/ 2168219 w 2182238"/>
                      <a:gd name="connsiteY10" fmla="*/ 2814106 h 2816656"/>
                      <a:gd name="connsiteX11" fmla="*/ 1376107 w 2182238"/>
                      <a:gd name="connsiteY11" fmla="*/ 2814106 h 2816656"/>
                      <a:gd name="connsiteX12" fmla="*/ 1088071 w 2182238"/>
                      <a:gd name="connsiteY12" fmla="*/ 2096167 h 2816656"/>
                      <a:gd name="connsiteX13" fmla="*/ 800027 w 2182238"/>
                      <a:gd name="connsiteY13" fmla="*/ 2816656 h 2816656"/>
                      <a:gd name="connsiteX14" fmla="*/ 7919 w 2182238"/>
                      <a:gd name="connsiteY14" fmla="*/ 2814106 h 2816656"/>
                      <a:gd name="connsiteX15" fmla="*/ 5436 w 2182238"/>
                      <a:gd name="connsiteY15" fmla="*/ 1883795 h 2816656"/>
                      <a:gd name="connsiteX16" fmla="*/ 7919 w 2182238"/>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3958 w 2178277"/>
                      <a:gd name="connsiteY0" fmla="*/ 653806 h 2816656"/>
                      <a:gd name="connsiteX1" fmla="*/ 796071 w 2178277"/>
                      <a:gd name="connsiteY1" fmla="*/ 653806 h 2816656"/>
                      <a:gd name="connsiteX2" fmla="*/ 1098126 w 2178277"/>
                      <a:gd name="connsiteY2" fmla="*/ 0 h 2816656"/>
                      <a:gd name="connsiteX3" fmla="*/ 1386169 w 2178277"/>
                      <a:gd name="connsiteY3" fmla="*/ 662108 h 2816656"/>
                      <a:gd name="connsiteX4" fmla="*/ 2164258 w 2178277"/>
                      <a:gd name="connsiteY4" fmla="*/ 653806 h 2816656"/>
                      <a:gd name="connsiteX5" fmla="*/ 2178277 w 2178277"/>
                      <a:gd name="connsiteY5" fmla="*/ 1373906 h 2816656"/>
                      <a:gd name="connsiteX6" fmla="*/ 2178277 w 2178277"/>
                      <a:gd name="connsiteY6" fmla="*/ 1445916 h 2816656"/>
                      <a:gd name="connsiteX7" fmla="*/ 1516166 w 2178277"/>
                      <a:gd name="connsiteY7" fmla="*/ 1733956 h 2816656"/>
                      <a:gd name="connsiteX8" fmla="*/ 2178277 w 2178277"/>
                      <a:gd name="connsiteY8" fmla="*/ 2021996 h 2816656"/>
                      <a:gd name="connsiteX9" fmla="*/ 2166183 w 2178277"/>
                      <a:gd name="connsiteY9" fmla="*/ 2814106 h 2816656"/>
                      <a:gd name="connsiteX10" fmla="*/ 2164258 w 2178277"/>
                      <a:gd name="connsiteY10" fmla="*/ 2814106 h 2816656"/>
                      <a:gd name="connsiteX11" fmla="*/ 1372146 w 2178277"/>
                      <a:gd name="connsiteY11" fmla="*/ 2814106 h 2816656"/>
                      <a:gd name="connsiteX12" fmla="*/ 1084110 w 2178277"/>
                      <a:gd name="connsiteY12" fmla="*/ 2096167 h 2816656"/>
                      <a:gd name="connsiteX13" fmla="*/ 796066 w 2178277"/>
                      <a:gd name="connsiteY13" fmla="*/ 2816656 h 2816656"/>
                      <a:gd name="connsiteX14" fmla="*/ 3958 w 2178277"/>
                      <a:gd name="connsiteY14" fmla="*/ 2814106 h 2816656"/>
                      <a:gd name="connsiteX15" fmla="*/ 1475 w 2178277"/>
                      <a:gd name="connsiteY15" fmla="*/ 1883795 h 2816656"/>
                      <a:gd name="connsiteX16" fmla="*/ 3958 w 2178277"/>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794596 w 2176802"/>
                      <a:gd name="connsiteY1" fmla="*/ 653806 h 2816656"/>
                      <a:gd name="connsiteX2" fmla="*/ 1096651 w 2176802"/>
                      <a:gd name="connsiteY2" fmla="*/ 0 h 2816656"/>
                      <a:gd name="connsiteX3" fmla="*/ 1384694 w 2176802"/>
                      <a:gd name="connsiteY3" fmla="*/ 662108 h 2816656"/>
                      <a:gd name="connsiteX4" fmla="*/ 2162783 w 2176802"/>
                      <a:gd name="connsiteY4" fmla="*/ 653806 h 2816656"/>
                      <a:gd name="connsiteX5" fmla="*/ 2176802 w 2176802"/>
                      <a:gd name="connsiteY5" fmla="*/ 1373906 h 2816656"/>
                      <a:gd name="connsiteX6" fmla="*/ 2176802 w 2176802"/>
                      <a:gd name="connsiteY6" fmla="*/ 1445916 h 2816656"/>
                      <a:gd name="connsiteX7" fmla="*/ 1514691 w 2176802"/>
                      <a:gd name="connsiteY7" fmla="*/ 1733956 h 2816656"/>
                      <a:gd name="connsiteX8" fmla="*/ 2176802 w 2176802"/>
                      <a:gd name="connsiteY8" fmla="*/ 2021996 h 2816656"/>
                      <a:gd name="connsiteX9" fmla="*/ 2164708 w 2176802"/>
                      <a:gd name="connsiteY9" fmla="*/ 2814106 h 2816656"/>
                      <a:gd name="connsiteX10" fmla="*/ 2162783 w 2176802"/>
                      <a:gd name="connsiteY10" fmla="*/ 2814106 h 2816656"/>
                      <a:gd name="connsiteX11" fmla="*/ 1370671 w 2176802"/>
                      <a:gd name="connsiteY11" fmla="*/ 2814106 h 2816656"/>
                      <a:gd name="connsiteX12" fmla="*/ 1082635 w 2176802"/>
                      <a:gd name="connsiteY12" fmla="*/ 2096167 h 2816656"/>
                      <a:gd name="connsiteX13" fmla="*/ 794591 w 2176802"/>
                      <a:gd name="connsiteY13" fmla="*/ 2816656 h 2816656"/>
                      <a:gd name="connsiteX14" fmla="*/ 2483 w 2176802"/>
                      <a:gd name="connsiteY14" fmla="*/ 2814106 h 2816656"/>
                      <a:gd name="connsiteX15" fmla="*/ 0 w 2176802"/>
                      <a:gd name="connsiteY15" fmla="*/ 1883795 h 2816656"/>
                      <a:gd name="connsiteX16" fmla="*/ 2483 w 2176802"/>
                      <a:gd name="connsiteY16"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2483 w 2176802"/>
                      <a:gd name="connsiteY0" fmla="*/ 653806 h 2816656"/>
                      <a:gd name="connsiteX1" fmla="*/ 208415 w 2176802"/>
                      <a:gd name="connsiteY1" fmla="*/ 653232 h 2816656"/>
                      <a:gd name="connsiteX2" fmla="*/ 794596 w 2176802"/>
                      <a:gd name="connsiteY2" fmla="*/ 653806 h 2816656"/>
                      <a:gd name="connsiteX3" fmla="*/ 1096651 w 2176802"/>
                      <a:gd name="connsiteY3" fmla="*/ 0 h 2816656"/>
                      <a:gd name="connsiteX4" fmla="*/ 1384694 w 2176802"/>
                      <a:gd name="connsiteY4" fmla="*/ 662108 h 2816656"/>
                      <a:gd name="connsiteX5" fmla="*/ 2162783 w 2176802"/>
                      <a:gd name="connsiteY5" fmla="*/ 653806 h 2816656"/>
                      <a:gd name="connsiteX6" fmla="*/ 2176802 w 2176802"/>
                      <a:gd name="connsiteY6" fmla="*/ 1373906 h 2816656"/>
                      <a:gd name="connsiteX7" fmla="*/ 2176802 w 2176802"/>
                      <a:gd name="connsiteY7" fmla="*/ 1445916 h 2816656"/>
                      <a:gd name="connsiteX8" fmla="*/ 1514691 w 2176802"/>
                      <a:gd name="connsiteY8" fmla="*/ 1733956 h 2816656"/>
                      <a:gd name="connsiteX9" fmla="*/ 2176802 w 2176802"/>
                      <a:gd name="connsiteY9" fmla="*/ 2021996 h 2816656"/>
                      <a:gd name="connsiteX10" fmla="*/ 2164708 w 2176802"/>
                      <a:gd name="connsiteY10" fmla="*/ 2814106 h 2816656"/>
                      <a:gd name="connsiteX11" fmla="*/ 2162783 w 2176802"/>
                      <a:gd name="connsiteY11" fmla="*/ 2814106 h 2816656"/>
                      <a:gd name="connsiteX12" fmla="*/ 1370671 w 2176802"/>
                      <a:gd name="connsiteY12" fmla="*/ 2814106 h 2816656"/>
                      <a:gd name="connsiteX13" fmla="*/ 1082635 w 2176802"/>
                      <a:gd name="connsiteY13" fmla="*/ 2096167 h 2816656"/>
                      <a:gd name="connsiteX14" fmla="*/ 794591 w 2176802"/>
                      <a:gd name="connsiteY14" fmla="*/ 2816656 h 2816656"/>
                      <a:gd name="connsiteX15" fmla="*/ 2483 w 2176802"/>
                      <a:gd name="connsiteY15" fmla="*/ 2814106 h 2816656"/>
                      <a:gd name="connsiteX16" fmla="*/ 0 w 2176802"/>
                      <a:gd name="connsiteY16" fmla="*/ 1883795 h 2816656"/>
                      <a:gd name="connsiteX17" fmla="*/ 2483 w 2176802"/>
                      <a:gd name="connsiteY17"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33401 w 2207720"/>
                      <a:gd name="connsiteY0" fmla="*/ 653806 h 2816656"/>
                      <a:gd name="connsiteX1" fmla="*/ 239333 w 2207720"/>
                      <a:gd name="connsiteY1" fmla="*/ 653232 h 2816656"/>
                      <a:gd name="connsiteX2" fmla="*/ 825514 w 2207720"/>
                      <a:gd name="connsiteY2" fmla="*/ 653806 h 2816656"/>
                      <a:gd name="connsiteX3" fmla="*/ 1127569 w 2207720"/>
                      <a:gd name="connsiteY3" fmla="*/ 0 h 2816656"/>
                      <a:gd name="connsiteX4" fmla="*/ 1415612 w 2207720"/>
                      <a:gd name="connsiteY4" fmla="*/ 662108 h 2816656"/>
                      <a:gd name="connsiteX5" fmla="*/ 2193701 w 2207720"/>
                      <a:gd name="connsiteY5" fmla="*/ 653806 h 2816656"/>
                      <a:gd name="connsiteX6" fmla="*/ 2207720 w 2207720"/>
                      <a:gd name="connsiteY6" fmla="*/ 1373906 h 2816656"/>
                      <a:gd name="connsiteX7" fmla="*/ 2207720 w 2207720"/>
                      <a:gd name="connsiteY7" fmla="*/ 1445916 h 2816656"/>
                      <a:gd name="connsiteX8" fmla="*/ 1545609 w 2207720"/>
                      <a:gd name="connsiteY8" fmla="*/ 1733956 h 2816656"/>
                      <a:gd name="connsiteX9" fmla="*/ 2207720 w 2207720"/>
                      <a:gd name="connsiteY9" fmla="*/ 2021996 h 2816656"/>
                      <a:gd name="connsiteX10" fmla="*/ 2195626 w 2207720"/>
                      <a:gd name="connsiteY10" fmla="*/ 2814106 h 2816656"/>
                      <a:gd name="connsiteX11" fmla="*/ 2193701 w 2207720"/>
                      <a:gd name="connsiteY11" fmla="*/ 2814106 h 2816656"/>
                      <a:gd name="connsiteX12" fmla="*/ 1401589 w 2207720"/>
                      <a:gd name="connsiteY12" fmla="*/ 2814106 h 2816656"/>
                      <a:gd name="connsiteX13" fmla="*/ 1113553 w 2207720"/>
                      <a:gd name="connsiteY13" fmla="*/ 2096167 h 2816656"/>
                      <a:gd name="connsiteX14" fmla="*/ 825509 w 2207720"/>
                      <a:gd name="connsiteY14" fmla="*/ 2816656 h 2816656"/>
                      <a:gd name="connsiteX15" fmla="*/ 33401 w 2207720"/>
                      <a:gd name="connsiteY15" fmla="*/ 2814106 h 2816656"/>
                      <a:gd name="connsiteX16" fmla="*/ 30918 w 2207720"/>
                      <a:gd name="connsiteY16" fmla="*/ 1883795 h 2816656"/>
                      <a:gd name="connsiteX17" fmla="*/ 38920 w 2207720"/>
                      <a:gd name="connsiteY17" fmla="*/ 1247194 h 2816656"/>
                      <a:gd name="connsiteX18" fmla="*/ 33401 w 2207720"/>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104476 w 2278795"/>
                      <a:gd name="connsiteY0" fmla="*/ 653806 h 2816656"/>
                      <a:gd name="connsiteX1" fmla="*/ 310408 w 2278795"/>
                      <a:gd name="connsiteY1" fmla="*/ 653232 h 2816656"/>
                      <a:gd name="connsiteX2" fmla="*/ 896589 w 2278795"/>
                      <a:gd name="connsiteY2" fmla="*/ 653806 h 2816656"/>
                      <a:gd name="connsiteX3" fmla="*/ 1198644 w 2278795"/>
                      <a:gd name="connsiteY3" fmla="*/ 0 h 2816656"/>
                      <a:gd name="connsiteX4" fmla="*/ 1486687 w 2278795"/>
                      <a:gd name="connsiteY4" fmla="*/ 662108 h 2816656"/>
                      <a:gd name="connsiteX5" fmla="*/ 2264776 w 2278795"/>
                      <a:gd name="connsiteY5" fmla="*/ 653806 h 2816656"/>
                      <a:gd name="connsiteX6" fmla="*/ 2278795 w 2278795"/>
                      <a:gd name="connsiteY6" fmla="*/ 1373906 h 2816656"/>
                      <a:gd name="connsiteX7" fmla="*/ 2278795 w 2278795"/>
                      <a:gd name="connsiteY7" fmla="*/ 1445916 h 2816656"/>
                      <a:gd name="connsiteX8" fmla="*/ 1616684 w 2278795"/>
                      <a:gd name="connsiteY8" fmla="*/ 1733956 h 2816656"/>
                      <a:gd name="connsiteX9" fmla="*/ 2278795 w 2278795"/>
                      <a:gd name="connsiteY9" fmla="*/ 2021996 h 2816656"/>
                      <a:gd name="connsiteX10" fmla="*/ 2266701 w 2278795"/>
                      <a:gd name="connsiteY10" fmla="*/ 2814106 h 2816656"/>
                      <a:gd name="connsiteX11" fmla="*/ 2264776 w 2278795"/>
                      <a:gd name="connsiteY11" fmla="*/ 2814106 h 2816656"/>
                      <a:gd name="connsiteX12" fmla="*/ 1472664 w 2278795"/>
                      <a:gd name="connsiteY12" fmla="*/ 2814106 h 2816656"/>
                      <a:gd name="connsiteX13" fmla="*/ 1184628 w 2278795"/>
                      <a:gd name="connsiteY13" fmla="*/ 2096167 h 2816656"/>
                      <a:gd name="connsiteX14" fmla="*/ 896584 w 2278795"/>
                      <a:gd name="connsiteY14" fmla="*/ 2816656 h 2816656"/>
                      <a:gd name="connsiteX15" fmla="*/ 104476 w 2278795"/>
                      <a:gd name="connsiteY15" fmla="*/ 2814106 h 2816656"/>
                      <a:gd name="connsiteX16" fmla="*/ 101993 w 2278795"/>
                      <a:gd name="connsiteY16" fmla="*/ 1883795 h 2816656"/>
                      <a:gd name="connsiteX17" fmla="*/ 109995 w 2278795"/>
                      <a:gd name="connsiteY17" fmla="*/ 1247194 h 2816656"/>
                      <a:gd name="connsiteX18" fmla="*/ 104476 w 2278795"/>
                      <a:gd name="connsiteY18" fmla="*/ 653806 h 2816656"/>
                      <a:gd name="connsiteX0" fmla="*/ 2766 w 2177085"/>
                      <a:gd name="connsiteY0" fmla="*/ 653806 h 2816656"/>
                      <a:gd name="connsiteX1" fmla="*/ 208698 w 2177085"/>
                      <a:gd name="connsiteY1" fmla="*/ 653232 h 2816656"/>
                      <a:gd name="connsiteX2" fmla="*/ 794879 w 2177085"/>
                      <a:gd name="connsiteY2" fmla="*/ 653806 h 2816656"/>
                      <a:gd name="connsiteX3" fmla="*/ 1096934 w 2177085"/>
                      <a:gd name="connsiteY3" fmla="*/ 0 h 2816656"/>
                      <a:gd name="connsiteX4" fmla="*/ 1384977 w 2177085"/>
                      <a:gd name="connsiteY4" fmla="*/ 662108 h 2816656"/>
                      <a:gd name="connsiteX5" fmla="*/ 2163066 w 2177085"/>
                      <a:gd name="connsiteY5" fmla="*/ 653806 h 2816656"/>
                      <a:gd name="connsiteX6" fmla="*/ 2177085 w 2177085"/>
                      <a:gd name="connsiteY6" fmla="*/ 1373906 h 2816656"/>
                      <a:gd name="connsiteX7" fmla="*/ 2177085 w 2177085"/>
                      <a:gd name="connsiteY7" fmla="*/ 1445916 h 2816656"/>
                      <a:gd name="connsiteX8" fmla="*/ 1514974 w 2177085"/>
                      <a:gd name="connsiteY8" fmla="*/ 1733956 h 2816656"/>
                      <a:gd name="connsiteX9" fmla="*/ 2177085 w 2177085"/>
                      <a:gd name="connsiteY9" fmla="*/ 2021996 h 2816656"/>
                      <a:gd name="connsiteX10" fmla="*/ 2164991 w 2177085"/>
                      <a:gd name="connsiteY10" fmla="*/ 2814106 h 2816656"/>
                      <a:gd name="connsiteX11" fmla="*/ 2163066 w 2177085"/>
                      <a:gd name="connsiteY11" fmla="*/ 2814106 h 2816656"/>
                      <a:gd name="connsiteX12" fmla="*/ 1370954 w 2177085"/>
                      <a:gd name="connsiteY12" fmla="*/ 2814106 h 2816656"/>
                      <a:gd name="connsiteX13" fmla="*/ 1082918 w 2177085"/>
                      <a:gd name="connsiteY13" fmla="*/ 2096167 h 2816656"/>
                      <a:gd name="connsiteX14" fmla="*/ 794874 w 2177085"/>
                      <a:gd name="connsiteY14" fmla="*/ 2816656 h 2816656"/>
                      <a:gd name="connsiteX15" fmla="*/ 2766 w 2177085"/>
                      <a:gd name="connsiteY15" fmla="*/ 2814106 h 2816656"/>
                      <a:gd name="connsiteX16" fmla="*/ 283 w 2177085"/>
                      <a:gd name="connsiteY16" fmla="*/ 1883795 h 2816656"/>
                      <a:gd name="connsiteX17" fmla="*/ 8285 w 2177085"/>
                      <a:gd name="connsiteY17" fmla="*/ 1247194 h 2816656"/>
                      <a:gd name="connsiteX18" fmla="*/ 2766 w 2177085"/>
                      <a:gd name="connsiteY18" fmla="*/ 653806 h 2816656"/>
                      <a:gd name="connsiteX0" fmla="*/ 6948 w 2181267"/>
                      <a:gd name="connsiteY0" fmla="*/ 653806 h 2816656"/>
                      <a:gd name="connsiteX1" fmla="*/ 212880 w 2181267"/>
                      <a:gd name="connsiteY1" fmla="*/ 653232 h 2816656"/>
                      <a:gd name="connsiteX2" fmla="*/ 799061 w 2181267"/>
                      <a:gd name="connsiteY2" fmla="*/ 653806 h 2816656"/>
                      <a:gd name="connsiteX3" fmla="*/ 1101116 w 2181267"/>
                      <a:gd name="connsiteY3" fmla="*/ 0 h 2816656"/>
                      <a:gd name="connsiteX4" fmla="*/ 1389159 w 2181267"/>
                      <a:gd name="connsiteY4" fmla="*/ 662108 h 2816656"/>
                      <a:gd name="connsiteX5" fmla="*/ 2167248 w 2181267"/>
                      <a:gd name="connsiteY5" fmla="*/ 653806 h 2816656"/>
                      <a:gd name="connsiteX6" fmla="*/ 2181267 w 2181267"/>
                      <a:gd name="connsiteY6" fmla="*/ 1373906 h 2816656"/>
                      <a:gd name="connsiteX7" fmla="*/ 2181267 w 2181267"/>
                      <a:gd name="connsiteY7" fmla="*/ 1445916 h 2816656"/>
                      <a:gd name="connsiteX8" fmla="*/ 1519156 w 2181267"/>
                      <a:gd name="connsiteY8" fmla="*/ 1733956 h 2816656"/>
                      <a:gd name="connsiteX9" fmla="*/ 2181267 w 2181267"/>
                      <a:gd name="connsiteY9" fmla="*/ 2021996 h 2816656"/>
                      <a:gd name="connsiteX10" fmla="*/ 2169173 w 2181267"/>
                      <a:gd name="connsiteY10" fmla="*/ 2814106 h 2816656"/>
                      <a:gd name="connsiteX11" fmla="*/ 2167248 w 2181267"/>
                      <a:gd name="connsiteY11" fmla="*/ 2814106 h 2816656"/>
                      <a:gd name="connsiteX12" fmla="*/ 1375136 w 2181267"/>
                      <a:gd name="connsiteY12" fmla="*/ 2814106 h 2816656"/>
                      <a:gd name="connsiteX13" fmla="*/ 1087100 w 2181267"/>
                      <a:gd name="connsiteY13" fmla="*/ 2096167 h 2816656"/>
                      <a:gd name="connsiteX14" fmla="*/ 799056 w 2181267"/>
                      <a:gd name="connsiteY14" fmla="*/ 2816656 h 2816656"/>
                      <a:gd name="connsiteX15" fmla="*/ 6948 w 2181267"/>
                      <a:gd name="connsiteY15" fmla="*/ 2814106 h 2816656"/>
                      <a:gd name="connsiteX16" fmla="*/ 4465 w 2181267"/>
                      <a:gd name="connsiteY16" fmla="*/ 1883795 h 2816656"/>
                      <a:gd name="connsiteX17" fmla="*/ 1334 w 2181267"/>
                      <a:gd name="connsiteY17" fmla="*/ 1640784 h 2816656"/>
                      <a:gd name="connsiteX18" fmla="*/ 12467 w 2181267"/>
                      <a:gd name="connsiteY18" fmla="*/ 1247194 h 2816656"/>
                      <a:gd name="connsiteX19" fmla="*/ 6948 w 218126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5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3418 w 2177737"/>
                      <a:gd name="connsiteY0" fmla="*/ 653806 h 2816656"/>
                      <a:gd name="connsiteX1" fmla="*/ 209350 w 2177737"/>
                      <a:gd name="connsiteY1" fmla="*/ 653232 h 2816656"/>
                      <a:gd name="connsiteX2" fmla="*/ 795531 w 2177737"/>
                      <a:gd name="connsiteY2" fmla="*/ 653806 h 2816656"/>
                      <a:gd name="connsiteX3" fmla="*/ 1097586 w 2177737"/>
                      <a:gd name="connsiteY3" fmla="*/ 0 h 2816656"/>
                      <a:gd name="connsiteX4" fmla="*/ 1385629 w 2177737"/>
                      <a:gd name="connsiteY4" fmla="*/ 662108 h 2816656"/>
                      <a:gd name="connsiteX5" fmla="*/ 2163718 w 2177737"/>
                      <a:gd name="connsiteY5" fmla="*/ 653806 h 2816656"/>
                      <a:gd name="connsiteX6" fmla="*/ 2177737 w 2177737"/>
                      <a:gd name="connsiteY6" fmla="*/ 1373906 h 2816656"/>
                      <a:gd name="connsiteX7" fmla="*/ 2177737 w 2177737"/>
                      <a:gd name="connsiteY7" fmla="*/ 1445916 h 2816656"/>
                      <a:gd name="connsiteX8" fmla="*/ 1515626 w 2177737"/>
                      <a:gd name="connsiteY8" fmla="*/ 1733956 h 2816656"/>
                      <a:gd name="connsiteX9" fmla="*/ 2177737 w 2177737"/>
                      <a:gd name="connsiteY9" fmla="*/ 2021996 h 2816656"/>
                      <a:gd name="connsiteX10" fmla="*/ 2165643 w 2177737"/>
                      <a:gd name="connsiteY10" fmla="*/ 2814106 h 2816656"/>
                      <a:gd name="connsiteX11" fmla="*/ 2163718 w 2177737"/>
                      <a:gd name="connsiteY11" fmla="*/ 2814106 h 2816656"/>
                      <a:gd name="connsiteX12" fmla="*/ 1371606 w 2177737"/>
                      <a:gd name="connsiteY12" fmla="*/ 2814106 h 2816656"/>
                      <a:gd name="connsiteX13" fmla="*/ 1083570 w 2177737"/>
                      <a:gd name="connsiteY13" fmla="*/ 2096167 h 2816656"/>
                      <a:gd name="connsiteX14" fmla="*/ 795526 w 2177737"/>
                      <a:gd name="connsiteY14" fmla="*/ 2816656 h 2816656"/>
                      <a:gd name="connsiteX15" fmla="*/ 3418 w 2177737"/>
                      <a:gd name="connsiteY15" fmla="*/ 2814106 h 2816656"/>
                      <a:gd name="connsiteX16" fmla="*/ 937 w 2177737"/>
                      <a:gd name="connsiteY16" fmla="*/ 1883795 h 2816656"/>
                      <a:gd name="connsiteX17" fmla="*/ 674313 w 2177737"/>
                      <a:gd name="connsiteY17" fmla="*/ 1667396 h 2816656"/>
                      <a:gd name="connsiteX18" fmla="*/ 8937 w 2177737"/>
                      <a:gd name="connsiteY18" fmla="*/ 1247194 h 2816656"/>
                      <a:gd name="connsiteX19" fmla="*/ 3418 w 2177737"/>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234597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8837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1941044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 name="connsiteX0" fmla="*/ 10766 w 2185085"/>
                      <a:gd name="connsiteY0" fmla="*/ 653806 h 2816656"/>
                      <a:gd name="connsiteX1" fmla="*/ 216698 w 2185085"/>
                      <a:gd name="connsiteY1" fmla="*/ 653232 h 2816656"/>
                      <a:gd name="connsiteX2" fmla="*/ 802879 w 2185085"/>
                      <a:gd name="connsiteY2" fmla="*/ 653806 h 2816656"/>
                      <a:gd name="connsiteX3" fmla="*/ 1104934 w 2185085"/>
                      <a:gd name="connsiteY3" fmla="*/ 0 h 2816656"/>
                      <a:gd name="connsiteX4" fmla="*/ 1392977 w 2185085"/>
                      <a:gd name="connsiteY4" fmla="*/ 662108 h 2816656"/>
                      <a:gd name="connsiteX5" fmla="*/ 2171066 w 2185085"/>
                      <a:gd name="connsiteY5" fmla="*/ 653806 h 2816656"/>
                      <a:gd name="connsiteX6" fmla="*/ 2185085 w 2185085"/>
                      <a:gd name="connsiteY6" fmla="*/ 1373906 h 2816656"/>
                      <a:gd name="connsiteX7" fmla="*/ 2185085 w 2185085"/>
                      <a:gd name="connsiteY7" fmla="*/ 1445916 h 2816656"/>
                      <a:gd name="connsiteX8" fmla="*/ 1522974 w 2185085"/>
                      <a:gd name="connsiteY8" fmla="*/ 1733956 h 2816656"/>
                      <a:gd name="connsiteX9" fmla="*/ 2185085 w 2185085"/>
                      <a:gd name="connsiteY9" fmla="*/ 2021996 h 2816656"/>
                      <a:gd name="connsiteX10" fmla="*/ 2172991 w 2185085"/>
                      <a:gd name="connsiteY10" fmla="*/ 2814106 h 2816656"/>
                      <a:gd name="connsiteX11" fmla="*/ 2171066 w 2185085"/>
                      <a:gd name="connsiteY11" fmla="*/ 2814106 h 2816656"/>
                      <a:gd name="connsiteX12" fmla="*/ 1378954 w 2185085"/>
                      <a:gd name="connsiteY12" fmla="*/ 2814106 h 2816656"/>
                      <a:gd name="connsiteX13" fmla="*/ 1090918 w 2185085"/>
                      <a:gd name="connsiteY13" fmla="*/ 2096167 h 2816656"/>
                      <a:gd name="connsiteX14" fmla="*/ 802874 w 2185085"/>
                      <a:gd name="connsiteY14" fmla="*/ 2816656 h 2816656"/>
                      <a:gd name="connsiteX15" fmla="*/ 10766 w 2185085"/>
                      <a:gd name="connsiteY15" fmla="*/ 2814106 h 2816656"/>
                      <a:gd name="connsiteX16" fmla="*/ 8285 w 2185085"/>
                      <a:gd name="connsiteY16" fmla="*/ 2100195 h 2816656"/>
                      <a:gd name="connsiteX17" fmla="*/ 681661 w 2185085"/>
                      <a:gd name="connsiteY17" fmla="*/ 1667396 h 2816656"/>
                      <a:gd name="connsiteX18" fmla="*/ 8285 w 2185085"/>
                      <a:gd name="connsiteY18" fmla="*/ 1450996 h 2816656"/>
                      <a:gd name="connsiteX19" fmla="*/ 10766 w 2185085"/>
                      <a:gd name="connsiteY19"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85085" h="2816656">
                        <a:moveTo>
                          <a:pt x="10766" y="653806"/>
                        </a:moveTo>
                        <a:cubicBezTo>
                          <a:pt x="79410" y="653615"/>
                          <a:pt x="15547" y="649697"/>
                          <a:pt x="216698" y="653232"/>
                        </a:cubicBezTo>
                        <a:lnTo>
                          <a:pt x="802879" y="653806"/>
                        </a:lnTo>
                        <a:cubicBezTo>
                          <a:pt x="965671" y="469129"/>
                          <a:pt x="444952" y="71335"/>
                          <a:pt x="1104934" y="0"/>
                        </a:cubicBezTo>
                        <a:cubicBezTo>
                          <a:pt x="1703935" y="26685"/>
                          <a:pt x="1349387" y="422718"/>
                          <a:pt x="1392977" y="662108"/>
                        </a:cubicBezTo>
                        <a:lnTo>
                          <a:pt x="2171066" y="653806"/>
                        </a:lnTo>
                        <a:lnTo>
                          <a:pt x="2185085" y="1373906"/>
                        </a:lnTo>
                        <a:lnTo>
                          <a:pt x="2185085" y="1445916"/>
                        </a:lnTo>
                        <a:cubicBezTo>
                          <a:pt x="2077879" y="1637932"/>
                          <a:pt x="1566317" y="1077840"/>
                          <a:pt x="1522974" y="1733956"/>
                        </a:cubicBezTo>
                        <a:cubicBezTo>
                          <a:pt x="1580298" y="2358162"/>
                          <a:pt x="2026080" y="1937031"/>
                          <a:pt x="2185085" y="2021996"/>
                        </a:cubicBezTo>
                        <a:cubicBezTo>
                          <a:pt x="2184833" y="2317166"/>
                          <a:pt x="2177022" y="2526066"/>
                          <a:pt x="2172991" y="2814106"/>
                        </a:cubicBezTo>
                        <a:cubicBezTo>
                          <a:pt x="2172990" y="2806363"/>
                          <a:pt x="2185085" y="1988562"/>
                          <a:pt x="2171066" y="2814106"/>
                        </a:cubicBezTo>
                        <a:lnTo>
                          <a:pt x="1378954" y="2814106"/>
                        </a:lnTo>
                        <a:cubicBezTo>
                          <a:pt x="1278507" y="2814106"/>
                          <a:pt x="1707715" y="2098327"/>
                          <a:pt x="1090918" y="2096167"/>
                        </a:cubicBezTo>
                        <a:cubicBezTo>
                          <a:pt x="463980" y="2103807"/>
                          <a:pt x="894454" y="2816656"/>
                          <a:pt x="802874" y="2816656"/>
                        </a:cubicBezTo>
                        <a:lnTo>
                          <a:pt x="10766" y="2814106"/>
                        </a:lnTo>
                        <a:cubicBezTo>
                          <a:pt x="9938" y="2504002"/>
                          <a:pt x="9113" y="2410299"/>
                          <a:pt x="8285" y="2100195"/>
                        </a:cubicBezTo>
                        <a:cubicBezTo>
                          <a:pt x="180335" y="1749817"/>
                          <a:pt x="677775" y="2422799"/>
                          <a:pt x="681661" y="1667396"/>
                        </a:cubicBezTo>
                        <a:cubicBezTo>
                          <a:pt x="657364" y="995490"/>
                          <a:pt x="138929" y="1691080"/>
                          <a:pt x="8285" y="1450996"/>
                        </a:cubicBezTo>
                        <a:cubicBezTo>
                          <a:pt x="0" y="873878"/>
                          <a:pt x="15832" y="1230020"/>
                          <a:pt x="10766" y="653806"/>
                        </a:cubicBez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19" name="Freihandform 118"/>
                  <p:cNvSpPr/>
                  <p:nvPr/>
                </p:nvSpPr>
                <p:spPr>
                  <a:xfrm rot="10800000">
                    <a:off x="5243998" y="2050804"/>
                    <a:ext cx="2174318" cy="3528489"/>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0" name="Freihandform 119"/>
                  <p:cNvSpPr/>
                  <p:nvPr/>
                </p:nvSpPr>
                <p:spPr>
                  <a:xfrm rot="16200000">
                    <a:off x="4922831" y="4520537"/>
                    <a:ext cx="2174318" cy="2816654"/>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2415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1080152 w 2174319"/>
                      <a:gd name="connsiteY12" fmla="*/ 2096167 h 2816656"/>
                      <a:gd name="connsiteX13" fmla="*/ 792108 w 2174319"/>
                      <a:gd name="connsiteY13" fmla="*/ 2816656 h 2816656"/>
                      <a:gd name="connsiteX14" fmla="*/ 0 w 2174319"/>
                      <a:gd name="connsiteY14" fmla="*/ 2814106 h 2816656"/>
                      <a:gd name="connsiteX15" fmla="*/ 0 w 2174319"/>
                      <a:gd name="connsiteY15" fmla="*/ 653806 h 2816656"/>
                      <a:gd name="connsiteX0" fmla="*/ 0 w 2174319"/>
                      <a:gd name="connsiteY0" fmla="*/ 653806 h 2824298"/>
                      <a:gd name="connsiteX1" fmla="*/ 792113 w 2174319"/>
                      <a:gd name="connsiteY1" fmla="*/ 653806 h 2824298"/>
                      <a:gd name="connsiteX2" fmla="*/ 1094168 w 2174319"/>
                      <a:gd name="connsiteY2" fmla="*/ 0 h 2824298"/>
                      <a:gd name="connsiteX3" fmla="*/ 1382211 w 2174319"/>
                      <a:gd name="connsiteY3" fmla="*/ 662108 h 2824298"/>
                      <a:gd name="connsiteX4" fmla="*/ 2160300 w 2174319"/>
                      <a:gd name="connsiteY4" fmla="*/ 653806 h 2824298"/>
                      <a:gd name="connsiteX5" fmla="*/ 2174319 w 2174319"/>
                      <a:gd name="connsiteY5" fmla="*/ 1373906 h 2824298"/>
                      <a:gd name="connsiteX6" fmla="*/ 2174319 w 2174319"/>
                      <a:gd name="connsiteY6" fmla="*/ 1445916 h 2824298"/>
                      <a:gd name="connsiteX7" fmla="*/ 1512208 w 2174319"/>
                      <a:gd name="connsiteY7" fmla="*/ 1733956 h 2824298"/>
                      <a:gd name="connsiteX8" fmla="*/ 2174319 w 2174319"/>
                      <a:gd name="connsiteY8" fmla="*/ 2021996 h 2824298"/>
                      <a:gd name="connsiteX9" fmla="*/ 2162225 w 2174319"/>
                      <a:gd name="connsiteY9" fmla="*/ 2814106 h 2824298"/>
                      <a:gd name="connsiteX10" fmla="*/ 2160300 w 2174319"/>
                      <a:gd name="connsiteY10" fmla="*/ 2814106 h 2824298"/>
                      <a:gd name="connsiteX11" fmla="*/ 1368188 w 2174319"/>
                      <a:gd name="connsiteY11" fmla="*/ 2814106 h 2824298"/>
                      <a:gd name="connsiteX12" fmla="*/ 1018508 w 2174319"/>
                      <a:gd name="connsiteY12" fmla="*/ 2816658 h 2824298"/>
                      <a:gd name="connsiteX13" fmla="*/ 792108 w 2174319"/>
                      <a:gd name="connsiteY13" fmla="*/ 2816656 h 2824298"/>
                      <a:gd name="connsiteX14" fmla="*/ 0 w 2174319"/>
                      <a:gd name="connsiteY14" fmla="*/ 2814106 h 2824298"/>
                      <a:gd name="connsiteX15" fmla="*/ 0 w 2174319"/>
                      <a:gd name="connsiteY15" fmla="*/ 653806 h 2824298"/>
                      <a:gd name="connsiteX0" fmla="*/ 0 w 2174319"/>
                      <a:gd name="connsiteY0" fmla="*/ 653806 h 2816656"/>
                      <a:gd name="connsiteX1" fmla="*/ 792113 w 2174319"/>
                      <a:gd name="connsiteY1" fmla="*/ 653806 h 2816656"/>
                      <a:gd name="connsiteX2" fmla="*/ 1094168 w 2174319"/>
                      <a:gd name="connsiteY2" fmla="*/ 0 h 2816656"/>
                      <a:gd name="connsiteX3" fmla="*/ 1382211 w 2174319"/>
                      <a:gd name="connsiteY3" fmla="*/ 662108 h 2816656"/>
                      <a:gd name="connsiteX4" fmla="*/ 2160300 w 2174319"/>
                      <a:gd name="connsiteY4" fmla="*/ 653806 h 2816656"/>
                      <a:gd name="connsiteX5" fmla="*/ 2174319 w 2174319"/>
                      <a:gd name="connsiteY5" fmla="*/ 1373906 h 2816656"/>
                      <a:gd name="connsiteX6" fmla="*/ 2174319 w 2174319"/>
                      <a:gd name="connsiteY6" fmla="*/ 1445916 h 2816656"/>
                      <a:gd name="connsiteX7" fmla="*/ 1512208 w 2174319"/>
                      <a:gd name="connsiteY7" fmla="*/ 1733956 h 2816656"/>
                      <a:gd name="connsiteX8" fmla="*/ 2174319 w 2174319"/>
                      <a:gd name="connsiteY8" fmla="*/ 2021996 h 2816656"/>
                      <a:gd name="connsiteX9" fmla="*/ 2162225 w 2174319"/>
                      <a:gd name="connsiteY9" fmla="*/ 2814106 h 2816656"/>
                      <a:gd name="connsiteX10" fmla="*/ 2160300 w 2174319"/>
                      <a:gd name="connsiteY10" fmla="*/ 2814106 h 2816656"/>
                      <a:gd name="connsiteX11" fmla="*/ 1368188 w 2174319"/>
                      <a:gd name="connsiteY11" fmla="*/ 2814106 h 2816656"/>
                      <a:gd name="connsiteX12" fmla="*/ 792108 w 2174319"/>
                      <a:gd name="connsiteY12" fmla="*/ 2816656 h 2816656"/>
                      <a:gd name="connsiteX13" fmla="*/ 0 w 2174319"/>
                      <a:gd name="connsiteY13" fmla="*/ 2814106 h 2816656"/>
                      <a:gd name="connsiteX14" fmla="*/ 0 w 2174319"/>
                      <a:gd name="connsiteY14" fmla="*/ 653806 h 281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4319" h="2816656">
                        <a:moveTo>
                          <a:pt x="0" y="653806"/>
                        </a:moveTo>
                        <a:lnTo>
                          <a:pt x="792113" y="653806"/>
                        </a:lnTo>
                        <a:cubicBezTo>
                          <a:pt x="954905" y="469129"/>
                          <a:pt x="434186" y="71335"/>
                          <a:pt x="1094168" y="0"/>
                        </a:cubicBezTo>
                        <a:cubicBezTo>
                          <a:pt x="1693169" y="26685"/>
                          <a:pt x="1338621" y="422718"/>
                          <a:pt x="1382211" y="662108"/>
                        </a:cubicBezTo>
                        <a:lnTo>
                          <a:pt x="2160300" y="653806"/>
                        </a:lnTo>
                        <a:lnTo>
                          <a:pt x="2174319" y="1373906"/>
                        </a:lnTo>
                        <a:lnTo>
                          <a:pt x="2174319" y="1445916"/>
                        </a:lnTo>
                        <a:cubicBezTo>
                          <a:pt x="2067113" y="1637932"/>
                          <a:pt x="1555551" y="1077840"/>
                          <a:pt x="1512208" y="1733956"/>
                        </a:cubicBezTo>
                        <a:cubicBezTo>
                          <a:pt x="1569532" y="2358162"/>
                          <a:pt x="2015314" y="1937031"/>
                          <a:pt x="2174319" y="2021996"/>
                        </a:cubicBezTo>
                        <a:cubicBezTo>
                          <a:pt x="2174067" y="2317166"/>
                          <a:pt x="2166256" y="2526066"/>
                          <a:pt x="2162225" y="2814106"/>
                        </a:cubicBezTo>
                        <a:cubicBezTo>
                          <a:pt x="2162224" y="2806363"/>
                          <a:pt x="2174319" y="1988562"/>
                          <a:pt x="2160300" y="2814106"/>
                        </a:cubicBezTo>
                        <a:lnTo>
                          <a:pt x="1368188" y="2814106"/>
                        </a:lnTo>
                        <a:lnTo>
                          <a:pt x="792108" y="2816656"/>
                        </a:lnTo>
                        <a:lnTo>
                          <a:pt x="0" y="2814106"/>
                        </a:lnTo>
                        <a:lnTo>
                          <a:pt x="0" y="653806"/>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1" name="Textfeld 16"/>
                  <p:cNvSpPr txBox="1"/>
                  <p:nvPr/>
                </p:nvSpPr>
                <p:spPr>
                  <a:xfrm>
                    <a:off x="5277072" y="529008"/>
                    <a:ext cx="2699681" cy="148319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with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market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expectations</a:t>
                    </a:r>
                    <a:endParaRPr lang="en-US" sz="900" dirty="0">
                      <a:solidFill>
                        <a:schemeClr val="bg1"/>
                      </a:solidFill>
                      <a:latin typeface="Arial" pitchFamily="34" charset="0"/>
                      <a:cs typeface="Arial" pitchFamily="34" charset="0"/>
                    </a:endParaRPr>
                  </a:p>
                </p:txBody>
              </p:sp>
              <p:sp>
                <p:nvSpPr>
                  <p:cNvPr id="122" name="Textfeld 18"/>
                  <p:cNvSpPr txBox="1"/>
                  <p:nvPr/>
                </p:nvSpPr>
                <p:spPr>
                  <a:xfrm>
                    <a:off x="711486" y="539082"/>
                    <a:ext cx="2699680" cy="148319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 </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ast</a:t>
                    </a:r>
                  </a:p>
                  <a:p>
                    <a:pPr algn="ctr"/>
                    <a:endParaRPr lang="en-US" sz="900" dirty="0">
                      <a:solidFill>
                        <a:schemeClr val="bg1"/>
                      </a:solidFill>
                      <a:latin typeface="Arial" pitchFamily="34" charset="0"/>
                      <a:cs typeface="Arial" pitchFamily="34" charset="0"/>
                    </a:endParaRPr>
                  </a:p>
                </p:txBody>
              </p:sp>
              <p:sp>
                <p:nvSpPr>
                  <p:cNvPr id="123" name="Textfeld 14"/>
                  <p:cNvSpPr txBox="1"/>
                  <p:nvPr/>
                </p:nvSpPr>
                <p:spPr>
                  <a:xfrm>
                    <a:off x="3200227" y="920696"/>
                    <a:ext cx="1801127" cy="116536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Regulatory requirements</a:t>
                    </a:r>
                    <a:br>
                      <a:rPr lang="en-US" sz="900" dirty="0" smtClean="0">
                        <a:solidFill>
                          <a:schemeClr val="bg1"/>
                        </a:solidFill>
                        <a:latin typeface="Arial" pitchFamily="34" charset="0"/>
                        <a:cs typeface="Arial" pitchFamily="34" charset="0"/>
                      </a:rPr>
                    </a:br>
                    <a:endParaRPr lang="en-US" sz="900" dirty="0">
                      <a:solidFill>
                        <a:schemeClr val="bg1"/>
                      </a:solidFill>
                      <a:latin typeface="Arial" pitchFamily="34" charset="0"/>
                      <a:cs typeface="Arial" pitchFamily="34" charset="0"/>
                    </a:endParaRPr>
                  </a:p>
                </p:txBody>
              </p:sp>
              <p:sp>
                <p:nvSpPr>
                  <p:cNvPr id="124" name="Freihandform 123"/>
                  <p:cNvSpPr/>
                  <p:nvPr/>
                </p:nvSpPr>
                <p:spPr>
                  <a:xfrm rot="16200000">
                    <a:off x="3039320" y="4158309"/>
                    <a:ext cx="2174320" cy="3528491"/>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74319" h="3528490">
                        <a:moveTo>
                          <a:pt x="0" y="717940"/>
                        </a:moveTo>
                        <a:lnTo>
                          <a:pt x="792113" y="717940"/>
                        </a:lnTo>
                        <a:cubicBezTo>
                          <a:pt x="893363" y="632383"/>
                          <a:pt x="421647" y="35191"/>
                          <a:pt x="1080152" y="0"/>
                        </a:cubicBezTo>
                        <a:cubicBezTo>
                          <a:pt x="1668886" y="80045"/>
                          <a:pt x="1276924" y="516202"/>
                          <a:pt x="1382211" y="726242"/>
                        </a:cubicBezTo>
                        <a:lnTo>
                          <a:pt x="2160300" y="717940"/>
                        </a:lnTo>
                        <a:lnTo>
                          <a:pt x="2174319" y="1438040"/>
                        </a:lnTo>
                        <a:lnTo>
                          <a:pt x="2174319" y="1510050"/>
                        </a:lnTo>
                        <a:cubicBezTo>
                          <a:pt x="2067113" y="1702066"/>
                          <a:pt x="1555551" y="1141974"/>
                          <a:pt x="1512208" y="1798090"/>
                        </a:cubicBezTo>
                        <a:cubicBezTo>
                          <a:pt x="1569532" y="2422296"/>
                          <a:pt x="2015314" y="2001165"/>
                          <a:pt x="2174319" y="2086130"/>
                        </a:cubicBezTo>
                        <a:cubicBezTo>
                          <a:pt x="2174067" y="2381300"/>
                          <a:pt x="2166256" y="2590200"/>
                          <a:pt x="2162225" y="2878240"/>
                        </a:cubicBezTo>
                        <a:cubicBezTo>
                          <a:pt x="2162224" y="2870497"/>
                          <a:pt x="2174319" y="2052696"/>
                          <a:pt x="2160300" y="2878240"/>
                        </a:cubicBezTo>
                        <a:lnTo>
                          <a:pt x="1368188" y="2878240"/>
                        </a:lnTo>
                        <a:cubicBezTo>
                          <a:pt x="1267741" y="2878240"/>
                          <a:pt x="1696945" y="3528490"/>
                          <a:pt x="1080148" y="3526330"/>
                        </a:cubicBezTo>
                        <a:cubicBezTo>
                          <a:pt x="458508" y="3526330"/>
                          <a:pt x="883688" y="2880790"/>
                          <a:pt x="792108" y="2880790"/>
                        </a:cubicBezTo>
                        <a:lnTo>
                          <a:pt x="0" y="2878240"/>
                        </a:lnTo>
                        <a:lnTo>
                          <a:pt x="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125" name="Textfeld 25"/>
                  <p:cNvSpPr txBox="1"/>
                  <p:nvPr/>
                </p:nvSpPr>
                <p:spPr>
                  <a:xfrm>
                    <a:off x="2714826" y="5582469"/>
                    <a:ext cx="2932450" cy="1165363"/>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Product/Segment/</a:t>
                    </a:r>
                  </a:p>
                  <a:p>
                    <a:pPr algn="ctr"/>
                    <a:r>
                      <a:rPr lang="en-US" sz="900" dirty="0" smtClean="0">
                        <a:solidFill>
                          <a:schemeClr val="bg1"/>
                        </a:solidFill>
                        <a:latin typeface="Arial" pitchFamily="34" charset="0"/>
                        <a:cs typeface="Arial" pitchFamily="34" charset="0"/>
                      </a:rPr>
                      <a:t>Regions mix</a:t>
                    </a:r>
                  </a:p>
                  <a:p>
                    <a:pPr algn="ctr"/>
                    <a:r>
                      <a:rPr lang="en-US" sz="900" dirty="0" smtClean="0">
                        <a:solidFill>
                          <a:schemeClr val="bg1"/>
                        </a:solidFill>
                        <a:latin typeface="Arial" pitchFamily="34" charset="0"/>
                        <a:cs typeface="Arial" pitchFamily="34" charset="0"/>
                      </a:rPr>
                      <a:t>effects</a:t>
                    </a:r>
                    <a:endParaRPr lang="en-US" sz="900" dirty="0">
                      <a:solidFill>
                        <a:schemeClr val="bg1"/>
                      </a:solidFill>
                      <a:latin typeface="Arial" pitchFamily="34" charset="0"/>
                      <a:cs typeface="Arial" pitchFamily="34" charset="0"/>
                    </a:endParaRPr>
                  </a:p>
                </p:txBody>
              </p:sp>
            </p:grpSp>
            <p:sp>
              <p:nvSpPr>
                <p:cNvPr id="114" name="Textfeld 27"/>
                <p:cNvSpPr txBox="1"/>
                <p:nvPr/>
              </p:nvSpPr>
              <p:spPr>
                <a:xfrm>
                  <a:off x="2471077" y="2573122"/>
                  <a:ext cx="2189146" cy="1165363"/>
                </a:xfrm>
                <a:prstGeom prst="rect">
                  <a:avLst/>
                </a:prstGeom>
                <a:noFill/>
              </p:spPr>
              <p:txBody>
                <a:bodyPr wrap="square"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900" dirty="0" smtClean="0">
                    <a:solidFill>
                      <a:schemeClr val="bg1"/>
                    </a:solidFill>
                  </a:endParaRPr>
                </a:p>
                <a:p>
                  <a:pPr algn="ctr"/>
                  <a:r>
                    <a:rPr lang="en-US" sz="900" dirty="0" smtClean="0">
                      <a:solidFill>
                        <a:schemeClr val="bg1"/>
                      </a:solidFill>
                    </a:rPr>
                    <a:t>Planning analysis investments</a:t>
                  </a:r>
                  <a:endParaRPr lang="en-US" sz="900" dirty="0">
                    <a:solidFill>
                      <a:schemeClr val="bg1"/>
                    </a:solidFill>
                  </a:endParaRPr>
                </a:p>
              </p:txBody>
            </p:sp>
          </p:grpSp>
          <p:sp>
            <p:nvSpPr>
              <p:cNvPr id="89" name="Textfeld 27"/>
              <p:cNvSpPr txBox="1"/>
              <p:nvPr/>
            </p:nvSpPr>
            <p:spPr>
              <a:xfrm>
                <a:off x="789797" y="3395818"/>
                <a:ext cx="1622281" cy="34717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rPr>
                  <a:t>Analysis </a:t>
                </a:r>
                <a:br>
                  <a:rPr lang="en-US" sz="900" dirty="0" smtClean="0">
                    <a:solidFill>
                      <a:schemeClr val="bg1"/>
                    </a:solidFill>
                  </a:rPr>
                </a:br>
                <a:r>
                  <a:rPr lang="en-US" sz="900" dirty="0" smtClean="0">
                    <a:solidFill>
                      <a:schemeClr val="bg1"/>
                    </a:solidFill>
                  </a:rPr>
                  <a:t>of past</a:t>
                </a:r>
                <a:r>
                  <a:rPr lang="en-US" sz="900" baseline="30000" dirty="0" smtClean="0">
                    <a:solidFill>
                      <a:schemeClr val="bg1"/>
                    </a:solidFill>
                  </a:rPr>
                  <a:t>(b)</a:t>
                </a:r>
                <a:endParaRPr lang="en-US" sz="900" baseline="30000" dirty="0">
                  <a:solidFill>
                    <a:schemeClr val="bg1"/>
                  </a:solidFill>
                </a:endParaRPr>
              </a:p>
            </p:txBody>
          </p:sp>
          <p:sp>
            <p:nvSpPr>
              <p:cNvPr id="90" name="Freihandform 89"/>
              <p:cNvSpPr/>
              <p:nvPr/>
            </p:nvSpPr>
            <p:spPr>
              <a:xfrm rot="10800000">
                <a:off x="2512295" y="2943105"/>
                <a:ext cx="1481830" cy="1427575"/>
              </a:xfrm>
              <a:custGeom>
                <a:avLst/>
                <a:gdLst>
                  <a:gd name="connsiteX0" fmla="*/ 0 w 2160300"/>
                  <a:gd name="connsiteY0" fmla="*/ 0 h 2160300"/>
                  <a:gd name="connsiteX1" fmla="*/ 2160300 w 2160300"/>
                  <a:gd name="connsiteY1" fmla="*/ 0 h 2160300"/>
                  <a:gd name="connsiteX2" fmla="*/ 2160300 w 2160300"/>
                  <a:gd name="connsiteY2" fmla="*/ 2160300 h 2160300"/>
                  <a:gd name="connsiteX3" fmla="*/ 0 w 2160300"/>
                  <a:gd name="connsiteY3" fmla="*/ 2160300 h 2160300"/>
                  <a:gd name="connsiteX4" fmla="*/ 0 w 2160300"/>
                  <a:gd name="connsiteY4"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6346"/>
                  <a:gd name="connsiteY0" fmla="*/ 0 h 2160300"/>
                  <a:gd name="connsiteX1" fmla="*/ 2160300 w 2166346"/>
                  <a:gd name="connsiteY1" fmla="*/ 0 h 2160300"/>
                  <a:gd name="connsiteX2" fmla="*/ 2162225 w 2166346"/>
                  <a:gd name="connsiteY2" fmla="*/ 856338 h 2160300"/>
                  <a:gd name="connsiteX3" fmla="*/ 2160300 w 2166346"/>
                  <a:gd name="connsiteY3" fmla="*/ 2160300 h 2160300"/>
                  <a:gd name="connsiteX4" fmla="*/ 0 w 2166346"/>
                  <a:gd name="connsiteY4" fmla="*/ 2160300 h 2160300"/>
                  <a:gd name="connsiteX5" fmla="*/ 0 w 2166346"/>
                  <a:gd name="connsiteY5" fmla="*/ 0 h 2160300"/>
                  <a:gd name="connsiteX0" fmla="*/ 0 w 2166987"/>
                  <a:gd name="connsiteY0" fmla="*/ 0 h 2160300"/>
                  <a:gd name="connsiteX1" fmla="*/ 2160300 w 2166987"/>
                  <a:gd name="connsiteY1" fmla="*/ 0 h 2160300"/>
                  <a:gd name="connsiteX2" fmla="*/ 2162225 w 2166987"/>
                  <a:gd name="connsiteY2" fmla="*/ 856338 h 2160300"/>
                  <a:gd name="connsiteX3" fmla="*/ 2160300 w 2166987"/>
                  <a:gd name="connsiteY3" fmla="*/ 2160300 h 2160300"/>
                  <a:gd name="connsiteX4" fmla="*/ 0 w 2166987"/>
                  <a:gd name="connsiteY4" fmla="*/ 2160300 h 2160300"/>
                  <a:gd name="connsiteX5" fmla="*/ 0 w 2166987"/>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856338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162225"/>
                  <a:gd name="connsiteY0" fmla="*/ 0 h 2160300"/>
                  <a:gd name="connsiteX1" fmla="*/ 2160300 w 2162225"/>
                  <a:gd name="connsiteY1" fmla="*/ 0 h 2160300"/>
                  <a:gd name="connsiteX2" fmla="*/ 2162225 w 2162225"/>
                  <a:gd name="connsiteY2" fmla="*/ 2160300 h 2160300"/>
                  <a:gd name="connsiteX3" fmla="*/ 2160300 w 2162225"/>
                  <a:gd name="connsiteY3" fmla="*/ 2160300 h 2160300"/>
                  <a:gd name="connsiteX4" fmla="*/ 0 w 2162225"/>
                  <a:gd name="connsiteY4" fmla="*/ 2160300 h 2160300"/>
                  <a:gd name="connsiteX5" fmla="*/ 0 w 2162225"/>
                  <a:gd name="connsiteY5" fmla="*/ 0 h 2160300"/>
                  <a:gd name="connsiteX0" fmla="*/ 0 w 2521465"/>
                  <a:gd name="connsiteY0" fmla="*/ 0 h 2160300"/>
                  <a:gd name="connsiteX1" fmla="*/ 2160300 w 2521465"/>
                  <a:gd name="connsiteY1" fmla="*/ 0 h 2160300"/>
                  <a:gd name="connsiteX2" fmla="*/ 2166987 w 2521465"/>
                  <a:gd name="connsiteY2" fmla="*/ 1008738 h 2160300"/>
                  <a:gd name="connsiteX3" fmla="*/ 2162225 w 2521465"/>
                  <a:gd name="connsiteY3" fmla="*/ 2160300 h 2160300"/>
                  <a:gd name="connsiteX4" fmla="*/ 2160300 w 2521465"/>
                  <a:gd name="connsiteY4" fmla="*/ 2160300 h 2160300"/>
                  <a:gd name="connsiteX5" fmla="*/ 0 w 2521465"/>
                  <a:gd name="connsiteY5" fmla="*/ 2160300 h 2160300"/>
                  <a:gd name="connsiteX6" fmla="*/ 0 w 2521465"/>
                  <a:gd name="connsiteY6" fmla="*/ 0 h 2160300"/>
                  <a:gd name="connsiteX0" fmla="*/ 0 w 2521465"/>
                  <a:gd name="connsiteY0" fmla="*/ 5077 h 2165377"/>
                  <a:gd name="connsiteX1" fmla="*/ 2160300 w 2521465"/>
                  <a:gd name="connsiteY1" fmla="*/ 5077 h 2165377"/>
                  <a:gd name="connsiteX2" fmla="*/ 2166987 w 2521465"/>
                  <a:gd name="connsiteY2" fmla="*/ 1013815 h 2165377"/>
                  <a:gd name="connsiteX3" fmla="*/ 2162225 w 2521465"/>
                  <a:gd name="connsiteY3" fmla="*/ 2165377 h 2165377"/>
                  <a:gd name="connsiteX4" fmla="*/ 2160300 w 2521465"/>
                  <a:gd name="connsiteY4" fmla="*/ 2165377 h 2165377"/>
                  <a:gd name="connsiteX5" fmla="*/ 0 w 2521465"/>
                  <a:gd name="connsiteY5" fmla="*/ 2165377 h 2165377"/>
                  <a:gd name="connsiteX6" fmla="*/ 0 w 2521465"/>
                  <a:gd name="connsiteY6" fmla="*/ 5077 h 2165377"/>
                  <a:gd name="connsiteX0" fmla="*/ 0 w 2167308"/>
                  <a:gd name="connsiteY0" fmla="*/ 5077 h 2165377"/>
                  <a:gd name="connsiteX1" fmla="*/ 2160300 w 2167308"/>
                  <a:gd name="connsiteY1" fmla="*/ 5077 h 2165377"/>
                  <a:gd name="connsiteX2" fmla="*/ 2166987 w 2167308"/>
                  <a:gd name="connsiteY2" fmla="*/ 1013815 h 2165377"/>
                  <a:gd name="connsiteX3" fmla="*/ 2162225 w 2167308"/>
                  <a:gd name="connsiteY3" fmla="*/ 2165377 h 2165377"/>
                  <a:gd name="connsiteX4" fmla="*/ 2160300 w 2167308"/>
                  <a:gd name="connsiteY4" fmla="*/ 2165377 h 2165377"/>
                  <a:gd name="connsiteX5" fmla="*/ 0 w 2167308"/>
                  <a:gd name="connsiteY5" fmla="*/ 2165377 h 2165377"/>
                  <a:gd name="connsiteX6" fmla="*/ 0 w 2167308"/>
                  <a:gd name="connsiteY6" fmla="*/ 5077 h 2165377"/>
                  <a:gd name="connsiteX0" fmla="*/ 0 w 2167629"/>
                  <a:gd name="connsiteY0" fmla="*/ 5674 h 2165974"/>
                  <a:gd name="connsiteX1" fmla="*/ 2160300 w 2167629"/>
                  <a:gd name="connsiteY1" fmla="*/ 5674 h 2165974"/>
                  <a:gd name="connsiteX2" fmla="*/ 2167308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950"/>
                  <a:gd name="connsiteY0" fmla="*/ 5674 h 2165974"/>
                  <a:gd name="connsiteX1" fmla="*/ 2160300 w 2167950"/>
                  <a:gd name="connsiteY1" fmla="*/ 5674 h 2165974"/>
                  <a:gd name="connsiteX2" fmla="*/ 2167629 w 2167950"/>
                  <a:gd name="connsiteY2" fmla="*/ 1013815 h 2165974"/>
                  <a:gd name="connsiteX3" fmla="*/ 2162225 w 2167950"/>
                  <a:gd name="connsiteY3" fmla="*/ 2165974 h 2165974"/>
                  <a:gd name="connsiteX4" fmla="*/ 2160300 w 2167950"/>
                  <a:gd name="connsiteY4" fmla="*/ 2165974 h 2165974"/>
                  <a:gd name="connsiteX5" fmla="*/ 0 w 2167950"/>
                  <a:gd name="connsiteY5" fmla="*/ 2165974 h 2165974"/>
                  <a:gd name="connsiteX6" fmla="*/ 0 w 2167950"/>
                  <a:gd name="connsiteY6" fmla="*/ 5674 h 2165974"/>
                  <a:gd name="connsiteX0" fmla="*/ 0 w 2167629"/>
                  <a:gd name="connsiteY0" fmla="*/ 5674 h 2165974"/>
                  <a:gd name="connsiteX1" fmla="*/ 2160300 w 2167629"/>
                  <a:gd name="connsiteY1" fmla="*/ 5674 h 2165974"/>
                  <a:gd name="connsiteX2" fmla="*/ 2167629 w 2167629"/>
                  <a:gd name="connsiteY2" fmla="*/ 1013815 h 2165974"/>
                  <a:gd name="connsiteX3" fmla="*/ 2162225 w 2167629"/>
                  <a:gd name="connsiteY3" fmla="*/ 2165974 h 2165974"/>
                  <a:gd name="connsiteX4" fmla="*/ 2160300 w 2167629"/>
                  <a:gd name="connsiteY4" fmla="*/ 2165974 h 2165974"/>
                  <a:gd name="connsiteX5" fmla="*/ 0 w 2167629"/>
                  <a:gd name="connsiteY5" fmla="*/ 2165974 h 2165974"/>
                  <a:gd name="connsiteX6" fmla="*/ 0 w 2167629"/>
                  <a:gd name="connsiteY6" fmla="*/ 5674 h 2165974"/>
                  <a:gd name="connsiteX0" fmla="*/ 0 w 2167629"/>
                  <a:gd name="connsiteY0" fmla="*/ 0 h 2160300"/>
                  <a:gd name="connsiteX1" fmla="*/ 2160300 w 2167629"/>
                  <a:gd name="connsiteY1" fmla="*/ 0 h 2160300"/>
                  <a:gd name="connsiteX2" fmla="*/ 2167629 w 2167629"/>
                  <a:gd name="connsiteY2" fmla="*/ 1080151 h 2160300"/>
                  <a:gd name="connsiteX3" fmla="*/ 2162225 w 2167629"/>
                  <a:gd name="connsiteY3" fmla="*/ 2160300 h 2160300"/>
                  <a:gd name="connsiteX4" fmla="*/ 2160300 w 2167629"/>
                  <a:gd name="connsiteY4" fmla="*/ 2160300 h 2160300"/>
                  <a:gd name="connsiteX5" fmla="*/ 0 w 2167629"/>
                  <a:gd name="connsiteY5" fmla="*/ 2160300 h 2160300"/>
                  <a:gd name="connsiteX6" fmla="*/ 0 w 2167629"/>
                  <a:gd name="connsiteY6" fmla="*/ 0 h 2160300"/>
                  <a:gd name="connsiteX0" fmla="*/ 0 w 2168591"/>
                  <a:gd name="connsiteY0" fmla="*/ 0 h 2160300"/>
                  <a:gd name="connsiteX1" fmla="*/ 2160300 w 2168591"/>
                  <a:gd name="connsiteY1" fmla="*/ 0 h 2160300"/>
                  <a:gd name="connsiteX2" fmla="*/ 2167629 w 2168591"/>
                  <a:gd name="connsiteY2" fmla="*/ 1080151 h 2160300"/>
                  <a:gd name="connsiteX3" fmla="*/ 2162225 w 2168591"/>
                  <a:gd name="connsiteY3" fmla="*/ 2160300 h 2160300"/>
                  <a:gd name="connsiteX4" fmla="*/ 2160300 w 2168591"/>
                  <a:gd name="connsiteY4" fmla="*/ 2160300 h 2160300"/>
                  <a:gd name="connsiteX5" fmla="*/ 0 w 2168591"/>
                  <a:gd name="connsiteY5" fmla="*/ 2160300 h 2160300"/>
                  <a:gd name="connsiteX6" fmla="*/ 0 w 2168591"/>
                  <a:gd name="connsiteY6" fmla="*/ 0 h 2160300"/>
                  <a:gd name="connsiteX0" fmla="*/ 0 w 2170144"/>
                  <a:gd name="connsiteY0" fmla="*/ 0 h 2160300"/>
                  <a:gd name="connsiteX1" fmla="*/ 2160300 w 2170144"/>
                  <a:gd name="connsiteY1" fmla="*/ 0 h 2160300"/>
                  <a:gd name="connsiteX2" fmla="*/ 2167629 w 2170144"/>
                  <a:gd name="connsiteY2" fmla="*/ 1080151 h 2160300"/>
                  <a:gd name="connsiteX3" fmla="*/ 2162225 w 2170144"/>
                  <a:gd name="connsiteY3" fmla="*/ 2160300 h 2160300"/>
                  <a:gd name="connsiteX4" fmla="*/ 2160300 w 2170144"/>
                  <a:gd name="connsiteY4" fmla="*/ 2160300 h 2160300"/>
                  <a:gd name="connsiteX5" fmla="*/ 0 w 2170144"/>
                  <a:gd name="connsiteY5" fmla="*/ 2160300 h 2160300"/>
                  <a:gd name="connsiteX6" fmla="*/ 0 w 2170144"/>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2659"/>
                  <a:gd name="connsiteY0" fmla="*/ 0 h 2160300"/>
                  <a:gd name="connsiteX1" fmla="*/ 2160300 w 2172659"/>
                  <a:gd name="connsiteY1" fmla="*/ 0 h 2160300"/>
                  <a:gd name="connsiteX2" fmla="*/ 2170144 w 2172659"/>
                  <a:gd name="connsiteY2" fmla="*/ 1080151 h 2160300"/>
                  <a:gd name="connsiteX3" fmla="*/ 2162225 w 2172659"/>
                  <a:gd name="connsiteY3" fmla="*/ 2160300 h 2160300"/>
                  <a:gd name="connsiteX4" fmla="*/ 2160300 w 2172659"/>
                  <a:gd name="connsiteY4" fmla="*/ 2160300 h 2160300"/>
                  <a:gd name="connsiteX5" fmla="*/ 0 w 2172659"/>
                  <a:gd name="connsiteY5" fmla="*/ 2160300 h 2160300"/>
                  <a:gd name="connsiteX6" fmla="*/ 0 w 217265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0144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62225 w 2174319"/>
                  <a:gd name="connsiteY3" fmla="*/ 2160300 h 2160300"/>
                  <a:gd name="connsiteX4" fmla="*/ 2160300 w 2174319"/>
                  <a:gd name="connsiteY4" fmla="*/ 2160300 h 2160300"/>
                  <a:gd name="connsiteX5" fmla="*/ 0 w 2174319"/>
                  <a:gd name="connsiteY5" fmla="*/ 2160300 h 2160300"/>
                  <a:gd name="connsiteX6" fmla="*/ 0 w 2174319"/>
                  <a:gd name="connsiteY6"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62225 w 2174319"/>
                  <a:gd name="connsiteY4" fmla="*/ 2160300 h 2160300"/>
                  <a:gd name="connsiteX5" fmla="*/ 2160300 w 2174319"/>
                  <a:gd name="connsiteY5" fmla="*/ 2160300 h 2160300"/>
                  <a:gd name="connsiteX6" fmla="*/ 0 w 2174319"/>
                  <a:gd name="connsiteY6" fmla="*/ 2160300 h 2160300"/>
                  <a:gd name="connsiteX7" fmla="*/ 0 w 2174319"/>
                  <a:gd name="connsiteY7"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108015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2174319 w 2174319"/>
                  <a:gd name="connsiteY4" fmla="*/ 1152161 h 2160300"/>
                  <a:gd name="connsiteX5" fmla="*/ 2162225 w 2174319"/>
                  <a:gd name="connsiteY5" fmla="*/ 2160300 h 2160300"/>
                  <a:gd name="connsiteX6" fmla="*/ 2160300 w 2174319"/>
                  <a:gd name="connsiteY6" fmla="*/ 2160300 h 2160300"/>
                  <a:gd name="connsiteX7" fmla="*/ 0 w 2174319"/>
                  <a:gd name="connsiteY7" fmla="*/ 2160300 h 2160300"/>
                  <a:gd name="connsiteX8" fmla="*/ 0 w 2174319"/>
                  <a:gd name="connsiteY8"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15216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108015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656228 w 2174319"/>
                  <a:gd name="connsiteY4" fmla="*/ 100814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58421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1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1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0814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1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86412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29618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44019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864121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2010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44020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0300"/>
                  <a:gd name="connsiteX1" fmla="*/ 2160300 w 2174319"/>
                  <a:gd name="connsiteY1" fmla="*/ 0 h 2160300"/>
                  <a:gd name="connsiteX2" fmla="*/ 2174319 w 2174319"/>
                  <a:gd name="connsiteY2" fmla="*/ 720100 h 2160300"/>
                  <a:gd name="connsiteX3" fmla="*/ 2174319 w 2174319"/>
                  <a:gd name="connsiteY3" fmla="*/ 792110 h 2160300"/>
                  <a:gd name="connsiteX4" fmla="*/ 1584218 w 2174319"/>
                  <a:gd name="connsiteY4" fmla="*/ 1080150 h 2160300"/>
                  <a:gd name="connsiteX5" fmla="*/ 2174319 w 2174319"/>
                  <a:gd name="connsiteY5" fmla="*/ 1368190 h 2160300"/>
                  <a:gd name="connsiteX6" fmla="*/ 2162225 w 2174319"/>
                  <a:gd name="connsiteY6" fmla="*/ 2160300 h 2160300"/>
                  <a:gd name="connsiteX7" fmla="*/ 2160300 w 2174319"/>
                  <a:gd name="connsiteY7" fmla="*/ 2160300 h 2160300"/>
                  <a:gd name="connsiteX8" fmla="*/ 0 w 2174319"/>
                  <a:gd name="connsiteY8" fmla="*/ 2160300 h 2160300"/>
                  <a:gd name="connsiteX9" fmla="*/ 0 w 2174319"/>
                  <a:gd name="connsiteY9" fmla="*/ 0 h 216030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0 w 2174319"/>
                  <a:gd name="connsiteY9" fmla="*/ 2160300 h 2162850"/>
                  <a:gd name="connsiteX10" fmla="*/ 0 w 2174319"/>
                  <a:gd name="connsiteY10"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100334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1289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29617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792108 w 2174319"/>
                  <a:gd name="connsiteY9" fmla="*/ 2162850 h 2162850"/>
                  <a:gd name="connsiteX10" fmla="*/ 0 w 2174319"/>
                  <a:gd name="connsiteY10" fmla="*/ 2160300 h 2162850"/>
                  <a:gd name="connsiteX11" fmla="*/ 0 w 2174319"/>
                  <a:gd name="connsiteY11"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136818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162850"/>
                  <a:gd name="connsiteX1" fmla="*/ 2160300 w 2174319"/>
                  <a:gd name="connsiteY1" fmla="*/ 0 h 2162850"/>
                  <a:gd name="connsiteX2" fmla="*/ 2174319 w 2174319"/>
                  <a:gd name="connsiteY2" fmla="*/ 720100 h 2162850"/>
                  <a:gd name="connsiteX3" fmla="*/ 2174319 w 2174319"/>
                  <a:gd name="connsiteY3" fmla="*/ 792110 h 2162850"/>
                  <a:gd name="connsiteX4" fmla="*/ 1584218 w 2174319"/>
                  <a:gd name="connsiteY4" fmla="*/ 1080150 h 2162850"/>
                  <a:gd name="connsiteX5" fmla="*/ 2174319 w 2174319"/>
                  <a:gd name="connsiteY5" fmla="*/ 1368190 h 2162850"/>
                  <a:gd name="connsiteX6" fmla="*/ 2162225 w 2174319"/>
                  <a:gd name="connsiteY6" fmla="*/ 2160300 h 2162850"/>
                  <a:gd name="connsiteX7" fmla="*/ 2160300 w 2174319"/>
                  <a:gd name="connsiteY7" fmla="*/ 2160300 h 2162850"/>
                  <a:gd name="connsiteX8" fmla="*/ 936128 w 2174319"/>
                  <a:gd name="connsiteY8" fmla="*/ 2162850 h 2162850"/>
                  <a:gd name="connsiteX9" fmla="*/ 1066848 w 2174319"/>
                  <a:gd name="connsiteY9" fmla="*/ 2162850 h 2162850"/>
                  <a:gd name="connsiteX10" fmla="*/ 792108 w 2174319"/>
                  <a:gd name="connsiteY10" fmla="*/ 2162850 h 2162850"/>
                  <a:gd name="connsiteX11" fmla="*/ 0 w 2174319"/>
                  <a:gd name="connsiteY11" fmla="*/ 2160300 h 2162850"/>
                  <a:gd name="connsiteX12" fmla="*/ 0 w 2174319"/>
                  <a:gd name="connsiteY12" fmla="*/ 0 h 216285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936128 w 2174319"/>
                  <a:gd name="connsiteY8" fmla="*/ 216285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448340"/>
                  <a:gd name="connsiteX1" fmla="*/ 2160300 w 2174319"/>
                  <a:gd name="connsiteY1" fmla="*/ 0 h 2448340"/>
                  <a:gd name="connsiteX2" fmla="*/ 2174319 w 2174319"/>
                  <a:gd name="connsiteY2" fmla="*/ 720100 h 2448340"/>
                  <a:gd name="connsiteX3" fmla="*/ 2174319 w 2174319"/>
                  <a:gd name="connsiteY3" fmla="*/ 792110 h 2448340"/>
                  <a:gd name="connsiteX4" fmla="*/ 1584218 w 2174319"/>
                  <a:gd name="connsiteY4" fmla="*/ 1080150 h 2448340"/>
                  <a:gd name="connsiteX5" fmla="*/ 2174319 w 2174319"/>
                  <a:gd name="connsiteY5" fmla="*/ 1368190 h 2448340"/>
                  <a:gd name="connsiteX6" fmla="*/ 2162225 w 2174319"/>
                  <a:gd name="connsiteY6" fmla="*/ 2160300 h 2448340"/>
                  <a:gd name="connsiteX7" fmla="*/ 2160300 w 2174319"/>
                  <a:gd name="connsiteY7" fmla="*/ 2160300 h 2448340"/>
                  <a:gd name="connsiteX8" fmla="*/ 1368188 w 2174319"/>
                  <a:gd name="connsiteY8" fmla="*/ 2160300 h 2448340"/>
                  <a:gd name="connsiteX9" fmla="*/ 1080148 w 2174319"/>
                  <a:gd name="connsiteY9" fmla="*/ 2448340 h 2448340"/>
                  <a:gd name="connsiteX10" fmla="*/ 792108 w 2174319"/>
                  <a:gd name="connsiteY10" fmla="*/ 2162850 h 2448340"/>
                  <a:gd name="connsiteX11" fmla="*/ 0 w 2174319"/>
                  <a:gd name="connsiteY11" fmla="*/ 2160300 h 2448340"/>
                  <a:gd name="connsiteX12" fmla="*/ 0 w 2174319"/>
                  <a:gd name="connsiteY12" fmla="*/ 0 h 2448340"/>
                  <a:gd name="connsiteX0" fmla="*/ 0 w 2174319"/>
                  <a:gd name="connsiteY0" fmla="*/ 0 h 2808390"/>
                  <a:gd name="connsiteX1" fmla="*/ 2160300 w 2174319"/>
                  <a:gd name="connsiteY1" fmla="*/ 0 h 2808390"/>
                  <a:gd name="connsiteX2" fmla="*/ 2174319 w 2174319"/>
                  <a:gd name="connsiteY2" fmla="*/ 720100 h 2808390"/>
                  <a:gd name="connsiteX3" fmla="*/ 2174319 w 2174319"/>
                  <a:gd name="connsiteY3" fmla="*/ 792110 h 2808390"/>
                  <a:gd name="connsiteX4" fmla="*/ 1584218 w 2174319"/>
                  <a:gd name="connsiteY4" fmla="*/ 1080150 h 2808390"/>
                  <a:gd name="connsiteX5" fmla="*/ 2174319 w 2174319"/>
                  <a:gd name="connsiteY5" fmla="*/ 1368190 h 2808390"/>
                  <a:gd name="connsiteX6" fmla="*/ 2162225 w 2174319"/>
                  <a:gd name="connsiteY6" fmla="*/ 2160300 h 2808390"/>
                  <a:gd name="connsiteX7" fmla="*/ 2160300 w 2174319"/>
                  <a:gd name="connsiteY7" fmla="*/ 2160300 h 2808390"/>
                  <a:gd name="connsiteX8" fmla="*/ 1368188 w 2174319"/>
                  <a:gd name="connsiteY8" fmla="*/ 2160300 h 2808390"/>
                  <a:gd name="connsiteX9" fmla="*/ 1080148 w 2174319"/>
                  <a:gd name="connsiteY9" fmla="*/ 2808390 h 2808390"/>
                  <a:gd name="connsiteX10" fmla="*/ 792108 w 2174319"/>
                  <a:gd name="connsiteY10" fmla="*/ 2162850 h 2808390"/>
                  <a:gd name="connsiteX11" fmla="*/ 0 w 2174319"/>
                  <a:gd name="connsiteY11" fmla="*/ 2160300 h 2808390"/>
                  <a:gd name="connsiteX12" fmla="*/ 0 w 2174319"/>
                  <a:gd name="connsiteY12" fmla="*/ 0 h 280839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8421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2160300 w 2174319"/>
                  <a:gd name="connsiteY1" fmla="*/ 0 h 2810550"/>
                  <a:gd name="connsiteX2" fmla="*/ 2174319 w 2174319"/>
                  <a:gd name="connsiteY2" fmla="*/ 720100 h 2810550"/>
                  <a:gd name="connsiteX3" fmla="*/ 2174319 w 2174319"/>
                  <a:gd name="connsiteY3" fmla="*/ 792110 h 2810550"/>
                  <a:gd name="connsiteX4" fmla="*/ 1512208 w 2174319"/>
                  <a:gd name="connsiteY4" fmla="*/ 1080150 h 2810550"/>
                  <a:gd name="connsiteX5" fmla="*/ 2174319 w 2174319"/>
                  <a:gd name="connsiteY5" fmla="*/ 1368190 h 2810550"/>
                  <a:gd name="connsiteX6" fmla="*/ 2162225 w 2174319"/>
                  <a:gd name="connsiteY6" fmla="*/ 2160300 h 2810550"/>
                  <a:gd name="connsiteX7" fmla="*/ 2160300 w 2174319"/>
                  <a:gd name="connsiteY7" fmla="*/ 2160300 h 2810550"/>
                  <a:gd name="connsiteX8" fmla="*/ 1368188 w 2174319"/>
                  <a:gd name="connsiteY8" fmla="*/ 2160300 h 2810550"/>
                  <a:gd name="connsiteX9" fmla="*/ 1080148 w 2174319"/>
                  <a:gd name="connsiteY9" fmla="*/ 2808390 h 2810550"/>
                  <a:gd name="connsiteX10" fmla="*/ 792108 w 2174319"/>
                  <a:gd name="connsiteY10" fmla="*/ 2162850 h 2810550"/>
                  <a:gd name="connsiteX11" fmla="*/ 0 w 2174319"/>
                  <a:gd name="connsiteY11" fmla="*/ 2160300 h 2810550"/>
                  <a:gd name="connsiteX12" fmla="*/ 0 w 2174319"/>
                  <a:gd name="connsiteY12" fmla="*/ 0 h 2810550"/>
                  <a:gd name="connsiteX0" fmla="*/ 0 w 2174319"/>
                  <a:gd name="connsiteY0" fmla="*/ 0 h 2810550"/>
                  <a:gd name="connsiteX1" fmla="*/ 1051601 w 2174319"/>
                  <a:gd name="connsiteY1" fmla="*/ 1171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2160300 w 2174319"/>
                  <a:gd name="connsiteY2" fmla="*/ 0 h 2810550"/>
                  <a:gd name="connsiteX3" fmla="*/ 2174319 w 2174319"/>
                  <a:gd name="connsiteY3" fmla="*/ 720100 h 2810550"/>
                  <a:gd name="connsiteX4" fmla="*/ 2174319 w 2174319"/>
                  <a:gd name="connsiteY4" fmla="*/ 792110 h 2810550"/>
                  <a:gd name="connsiteX5" fmla="*/ 1512208 w 2174319"/>
                  <a:gd name="connsiteY5" fmla="*/ 1080150 h 2810550"/>
                  <a:gd name="connsiteX6" fmla="*/ 2174319 w 2174319"/>
                  <a:gd name="connsiteY6" fmla="*/ 1368190 h 2810550"/>
                  <a:gd name="connsiteX7" fmla="*/ 2162225 w 2174319"/>
                  <a:gd name="connsiteY7" fmla="*/ 2160300 h 2810550"/>
                  <a:gd name="connsiteX8" fmla="*/ 2160300 w 2174319"/>
                  <a:gd name="connsiteY8" fmla="*/ 2160300 h 2810550"/>
                  <a:gd name="connsiteX9" fmla="*/ 1368188 w 2174319"/>
                  <a:gd name="connsiteY9" fmla="*/ 2160300 h 2810550"/>
                  <a:gd name="connsiteX10" fmla="*/ 1080148 w 2174319"/>
                  <a:gd name="connsiteY10" fmla="*/ 2808390 h 2810550"/>
                  <a:gd name="connsiteX11" fmla="*/ 792108 w 2174319"/>
                  <a:gd name="connsiteY11" fmla="*/ 2162850 h 2810550"/>
                  <a:gd name="connsiteX12" fmla="*/ 0 w 2174319"/>
                  <a:gd name="connsiteY12" fmla="*/ 2160300 h 2810550"/>
                  <a:gd name="connsiteX13" fmla="*/ 0 w 2174319"/>
                  <a:gd name="connsiteY13" fmla="*/ 0 h 2810550"/>
                  <a:gd name="connsiteX0" fmla="*/ 0 w 2174319"/>
                  <a:gd name="connsiteY0" fmla="*/ 0 h 2810550"/>
                  <a:gd name="connsiteX1" fmla="*/ 792113 w 2174319"/>
                  <a:gd name="connsiteY1" fmla="*/ 0 h 2810550"/>
                  <a:gd name="connsiteX2" fmla="*/ 1165901 w 2174319"/>
                  <a:gd name="connsiteY2" fmla="*/ 7521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0 h 2810550"/>
                  <a:gd name="connsiteX1" fmla="*/ 792113 w 2174319"/>
                  <a:gd name="connsiteY1" fmla="*/ 0 h 2810550"/>
                  <a:gd name="connsiteX2" fmla="*/ 1296183 w 2174319"/>
                  <a:gd name="connsiteY2" fmla="*/ 0 h 2810550"/>
                  <a:gd name="connsiteX3" fmla="*/ 2160300 w 2174319"/>
                  <a:gd name="connsiteY3" fmla="*/ 0 h 2810550"/>
                  <a:gd name="connsiteX4" fmla="*/ 2174319 w 2174319"/>
                  <a:gd name="connsiteY4" fmla="*/ 720100 h 2810550"/>
                  <a:gd name="connsiteX5" fmla="*/ 2174319 w 2174319"/>
                  <a:gd name="connsiteY5" fmla="*/ 792110 h 2810550"/>
                  <a:gd name="connsiteX6" fmla="*/ 1512208 w 2174319"/>
                  <a:gd name="connsiteY6" fmla="*/ 1080150 h 2810550"/>
                  <a:gd name="connsiteX7" fmla="*/ 2174319 w 2174319"/>
                  <a:gd name="connsiteY7" fmla="*/ 1368190 h 2810550"/>
                  <a:gd name="connsiteX8" fmla="*/ 2162225 w 2174319"/>
                  <a:gd name="connsiteY8" fmla="*/ 2160300 h 2810550"/>
                  <a:gd name="connsiteX9" fmla="*/ 2160300 w 2174319"/>
                  <a:gd name="connsiteY9" fmla="*/ 2160300 h 2810550"/>
                  <a:gd name="connsiteX10" fmla="*/ 1368188 w 2174319"/>
                  <a:gd name="connsiteY10" fmla="*/ 2160300 h 2810550"/>
                  <a:gd name="connsiteX11" fmla="*/ 1080148 w 2174319"/>
                  <a:gd name="connsiteY11" fmla="*/ 2808390 h 2810550"/>
                  <a:gd name="connsiteX12" fmla="*/ 792108 w 2174319"/>
                  <a:gd name="connsiteY12" fmla="*/ 2162850 h 2810550"/>
                  <a:gd name="connsiteX13" fmla="*/ 0 w 2174319"/>
                  <a:gd name="connsiteY13" fmla="*/ 2160300 h 2810550"/>
                  <a:gd name="connsiteX14" fmla="*/ 0 w 2174319"/>
                  <a:gd name="connsiteY14" fmla="*/ 0 h 2810550"/>
                  <a:gd name="connsiteX0" fmla="*/ 0 w 2174319"/>
                  <a:gd name="connsiteY0" fmla="*/ 5179 h 2815729"/>
                  <a:gd name="connsiteX1" fmla="*/ 792113 w 2174319"/>
                  <a:gd name="connsiteY1" fmla="*/ 5179 h 2815729"/>
                  <a:gd name="connsiteX2" fmla="*/ 1064301 w 2174319"/>
                  <a:gd name="connsiteY2" fmla="*/ 0 h 2815729"/>
                  <a:gd name="connsiteX3" fmla="*/ 1296183 w 2174319"/>
                  <a:gd name="connsiteY3" fmla="*/ 5179 h 2815729"/>
                  <a:gd name="connsiteX4" fmla="*/ 2160300 w 2174319"/>
                  <a:gd name="connsiteY4" fmla="*/ 5179 h 2815729"/>
                  <a:gd name="connsiteX5" fmla="*/ 2174319 w 2174319"/>
                  <a:gd name="connsiteY5" fmla="*/ 725279 h 2815729"/>
                  <a:gd name="connsiteX6" fmla="*/ 2174319 w 2174319"/>
                  <a:gd name="connsiteY6" fmla="*/ 797289 h 2815729"/>
                  <a:gd name="connsiteX7" fmla="*/ 1512208 w 2174319"/>
                  <a:gd name="connsiteY7" fmla="*/ 1085329 h 2815729"/>
                  <a:gd name="connsiteX8" fmla="*/ 2174319 w 2174319"/>
                  <a:gd name="connsiteY8" fmla="*/ 1373369 h 2815729"/>
                  <a:gd name="connsiteX9" fmla="*/ 2162225 w 2174319"/>
                  <a:gd name="connsiteY9" fmla="*/ 2165479 h 2815729"/>
                  <a:gd name="connsiteX10" fmla="*/ 2160300 w 2174319"/>
                  <a:gd name="connsiteY10" fmla="*/ 2165479 h 2815729"/>
                  <a:gd name="connsiteX11" fmla="*/ 1368188 w 2174319"/>
                  <a:gd name="connsiteY11" fmla="*/ 2165479 h 2815729"/>
                  <a:gd name="connsiteX12" fmla="*/ 1080148 w 2174319"/>
                  <a:gd name="connsiteY12" fmla="*/ 2813569 h 2815729"/>
                  <a:gd name="connsiteX13" fmla="*/ 792108 w 2174319"/>
                  <a:gd name="connsiteY13" fmla="*/ 2168029 h 2815729"/>
                  <a:gd name="connsiteX14" fmla="*/ 0 w 2174319"/>
                  <a:gd name="connsiteY14" fmla="*/ 2165479 h 2815729"/>
                  <a:gd name="connsiteX15" fmla="*/ 0 w 2174319"/>
                  <a:gd name="connsiteY15" fmla="*/ 5179 h 2815729"/>
                  <a:gd name="connsiteX0" fmla="*/ 0 w 2174319"/>
                  <a:gd name="connsiteY0" fmla="*/ 0 h 2810550"/>
                  <a:gd name="connsiteX1" fmla="*/ 792113 w 2174319"/>
                  <a:gd name="connsiteY1" fmla="*/ 0 h 2810550"/>
                  <a:gd name="connsiteX2" fmla="*/ 1080151 w 2174319"/>
                  <a:gd name="connsiteY2" fmla="*/ 506231 h 2810550"/>
                  <a:gd name="connsiteX3" fmla="*/ 1296183 w 2174319"/>
                  <a:gd name="connsiteY3" fmla="*/ 0 h 2810550"/>
                  <a:gd name="connsiteX4" fmla="*/ 2160300 w 2174319"/>
                  <a:gd name="connsiteY4" fmla="*/ 0 h 2810550"/>
                  <a:gd name="connsiteX5" fmla="*/ 2174319 w 2174319"/>
                  <a:gd name="connsiteY5" fmla="*/ 720100 h 2810550"/>
                  <a:gd name="connsiteX6" fmla="*/ 2174319 w 2174319"/>
                  <a:gd name="connsiteY6" fmla="*/ 792110 h 2810550"/>
                  <a:gd name="connsiteX7" fmla="*/ 1512208 w 2174319"/>
                  <a:gd name="connsiteY7" fmla="*/ 1080150 h 2810550"/>
                  <a:gd name="connsiteX8" fmla="*/ 2174319 w 2174319"/>
                  <a:gd name="connsiteY8" fmla="*/ 1368190 h 2810550"/>
                  <a:gd name="connsiteX9" fmla="*/ 2162225 w 2174319"/>
                  <a:gd name="connsiteY9" fmla="*/ 2160300 h 2810550"/>
                  <a:gd name="connsiteX10" fmla="*/ 2160300 w 2174319"/>
                  <a:gd name="connsiteY10" fmla="*/ 2160300 h 2810550"/>
                  <a:gd name="connsiteX11" fmla="*/ 1368188 w 2174319"/>
                  <a:gd name="connsiteY11" fmla="*/ 2160300 h 2810550"/>
                  <a:gd name="connsiteX12" fmla="*/ 1080148 w 2174319"/>
                  <a:gd name="connsiteY12" fmla="*/ 2808390 h 2810550"/>
                  <a:gd name="connsiteX13" fmla="*/ 792108 w 2174319"/>
                  <a:gd name="connsiteY13" fmla="*/ 2162850 h 2810550"/>
                  <a:gd name="connsiteX14" fmla="*/ 0 w 2174319"/>
                  <a:gd name="connsiteY14" fmla="*/ 2160300 h 2810550"/>
                  <a:gd name="connsiteX15" fmla="*/ 0 w 2174319"/>
                  <a:gd name="connsiteY15" fmla="*/ 0 h 2810550"/>
                  <a:gd name="connsiteX0" fmla="*/ 0 w 2174319"/>
                  <a:gd name="connsiteY0" fmla="*/ 717939 h 3528489"/>
                  <a:gd name="connsiteX1" fmla="*/ 792113 w 2174319"/>
                  <a:gd name="connsiteY1" fmla="*/ 717939 h 3528489"/>
                  <a:gd name="connsiteX2" fmla="*/ 1080153 w 2174319"/>
                  <a:gd name="connsiteY2" fmla="*/ 0 h 3528489"/>
                  <a:gd name="connsiteX3" fmla="*/ 1296183 w 2174319"/>
                  <a:gd name="connsiteY3" fmla="*/ 717939 h 3528489"/>
                  <a:gd name="connsiteX4" fmla="*/ 2160300 w 2174319"/>
                  <a:gd name="connsiteY4" fmla="*/ 717939 h 3528489"/>
                  <a:gd name="connsiteX5" fmla="*/ 2174319 w 2174319"/>
                  <a:gd name="connsiteY5" fmla="*/ 1438039 h 3528489"/>
                  <a:gd name="connsiteX6" fmla="*/ 2174319 w 2174319"/>
                  <a:gd name="connsiteY6" fmla="*/ 1510049 h 3528489"/>
                  <a:gd name="connsiteX7" fmla="*/ 1512208 w 2174319"/>
                  <a:gd name="connsiteY7" fmla="*/ 1798089 h 3528489"/>
                  <a:gd name="connsiteX8" fmla="*/ 2174319 w 2174319"/>
                  <a:gd name="connsiteY8" fmla="*/ 2086129 h 3528489"/>
                  <a:gd name="connsiteX9" fmla="*/ 2162225 w 2174319"/>
                  <a:gd name="connsiteY9" fmla="*/ 2878239 h 3528489"/>
                  <a:gd name="connsiteX10" fmla="*/ 2160300 w 2174319"/>
                  <a:gd name="connsiteY10" fmla="*/ 2878239 h 3528489"/>
                  <a:gd name="connsiteX11" fmla="*/ 1368188 w 2174319"/>
                  <a:gd name="connsiteY11" fmla="*/ 2878239 h 3528489"/>
                  <a:gd name="connsiteX12" fmla="*/ 1080148 w 2174319"/>
                  <a:gd name="connsiteY12" fmla="*/ 3526329 h 3528489"/>
                  <a:gd name="connsiteX13" fmla="*/ 792108 w 2174319"/>
                  <a:gd name="connsiteY13" fmla="*/ 2880789 h 3528489"/>
                  <a:gd name="connsiteX14" fmla="*/ 0 w 2174319"/>
                  <a:gd name="connsiteY14" fmla="*/ 2878239 h 3528489"/>
                  <a:gd name="connsiteX15" fmla="*/ 0 w 2174319"/>
                  <a:gd name="connsiteY15" fmla="*/ 717939 h 3528489"/>
                  <a:gd name="connsiteX0" fmla="*/ 0 w 2174319"/>
                  <a:gd name="connsiteY0" fmla="*/ 573920 h 3384470"/>
                  <a:gd name="connsiteX1" fmla="*/ 792113 w 2174319"/>
                  <a:gd name="connsiteY1" fmla="*/ 573920 h 3384470"/>
                  <a:gd name="connsiteX2" fmla="*/ 1080151 w 2174319"/>
                  <a:gd name="connsiteY2" fmla="*/ 0 h 3384470"/>
                  <a:gd name="connsiteX3" fmla="*/ 1296183 w 2174319"/>
                  <a:gd name="connsiteY3" fmla="*/ 57392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296183 w 2174319"/>
                  <a:gd name="connsiteY3" fmla="*/ 64593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76710 h 3487260"/>
                  <a:gd name="connsiteX1" fmla="*/ 792113 w 2174319"/>
                  <a:gd name="connsiteY1" fmla="*/ 676710 h 3487260"/>
                  <a:gd name="connsiteX2" fmla="*/ 1080153 w 2174319"/>
                  <a:gd name="connsiteY2" fmla="*/ 3078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707490 h 3518040"/>
                  <a:gd name="connsiteX1" fmla="*/ 792113 w 2174319"/>
                  <a:gd name="connsiteY1" fmla="*/ 707490 h 3518040"/>
                  <a:gd name="connsiteX2" fmla="*/ 1080153 w 2174319"/>
                  <a:gd name="connsiteY2" fmla="*/ 30780 h 3518040"/>
                  <a:gd name="connsiteX3" fmla="*/ 1296183 w 2174319"/>
                  <a:gd name="connsiteY3" fmla="*/ 707490 h 3518040"/>
                  <a:gd name="connsiteX4" fmla="*/ 2160300 w 2174319"/>
                  <a:gd name="connsiteY4" fmla="*/ 707490 h 3518040"/>
                  <a:gd name="connsiteX5" fmla="*/ 2174319 w 2174319"/>
                  <a:gd name="connsiteY5" fmla="*/ 1427590 h 3518040"/>
                  <a:gd name="connsiteX6" fmla="*/ 2174319 w 2174319"/>
                  <a:gd name="connsiteY6" fmla="*/ 1499600 h 3518040"/>
                  <a:gd name="connsiteX7" fmla="*/ 1512208 w 2174319"/>
                  <a:gd name="connsiteY7" fmla="*/ 1787640 h 3518040"/>
                  <a:gd name="connsiteX8" fmla="*/ 2174319 w 2174319"/>
                  <a:gd name="connsiteY8" fmla="*/ 2075680 h 3518040"/>
                  <a:gd name="connsiteX9" fmla="*/ 2162225 w 2174319"/>
                  <a:gd name="connsiteY9" fmla="*/ 2867790 h 3518040"/>
                  <a:gd name="connsiteX10" fmla="*/ 2160300 w 2174319"/>
                  <a:gd name="connsiteY10" fmla="*/ 2867790 h 3518040"/>
                  <a:gd name="connsiteX11" fmla="*/ 1368188 w 2174319"/>
                  <a:gd name="connsiteY11" fmla="*/ 2867790 h 3518040"/>
                  <a:gd name="connsiteX12" fmla="*/ 1080148 w 2174319"/>
                  <a:gd name="connsiteY12" fmla="*/ 3515880 h 3518040"/>
                  <a:gd name="connsiteX13" fmla="*/ 792108 w 2174319"/>
                  <a:gd name="connsiteY13" fmla="*/ 2870340 h 3518040"/>
                  <a:gd name="connsiteX14" fmla="*/ 0 w 2174319"/>
                  <a:gd name="connsiteY14" fmla="*/ 2867790 h 3518040"/>
                  <a:gd name="connsiteX15" fmla="*/ 0 w 2174319"/>
                  <a:gd name="connsiteY15" fmla="*/ 707490 h 351804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296183 w 2174319"/>
                  <a:gd name="connsiteY3" fmla="*/ 67671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676710 h 3487260"/>
                  <a:gd name="connsiteX1" fmla="*/ 792113 w 2174319"/>
                  <a:gd name="connsiteY1" fmla="*/ 676710 h 3487260"/>
                  <a:gd name="connsiteX2" fmla="*/ 1080153 w 2174319"/>
                  <a:gd name="connsiteY2" fmla="*/ 0 h 3487260"/>
                  <a:gd name="connsiteX3" fmla="*/ 1368193 w 2174319"/>
                  <a:gd name="connsiteY3" fmla="*/ 678870 h 3487260"/>
                  <a:gd name="connsiteX4" fmla="*/ 2160300 w 2174319"/>
                  <a:gd name="connsiteY4" fmla="*/ 676710 h 3487260"/>
                  <a:gd name="connsiteX5" fmla="*/ 2174319 w 2174319"/>
                  <a:gd name="connsiteY5" fmla="*/ 1396810 h 3487260"/>
                  <a:gd name="connsiteX6" fmla="*/ 2174319 w 2174319"/>
                  <a:gd name="connsiteY6" fmla="*/ 1468820 h 3487260"/>
                  <a:gd name="connsiteX7" fmla="*/ 1512208 w 2174319"/>
                  <a:gd name="connsiteY7" fmla="*/ 1756860 h 3487260"/>
                  <a:gd name="connsiteX8" fmla="*/ 2174319 w 2174319"/>
                  <a:gd name="connsiteY8" fmla="*/ 2044900 h 3487260"/>
                  <a:gd name="connsiteX9" fmla="*/ 2162225 w 2174319"/>
                  <a:gd name="connsiteY9" fmla="*/ 2837010 h 3487260"/>
                  <a:gd name="connsiteX10" fmla="*/ 2160300 w 2174319"/>
                  <a:gd name="connsiteY10" fmla="*/ 2837010 h 3487260"/>
                  <a:gd name="connsiteX11" fmla="*/ 1368188 w 2174319"/>
                  <a:gd name="connsiteY11" fmla="*/ 2837010 h 3487260"/>
                  <a:gd name="connsiteX12" fmla="*/ 1080148 w 2174319"/>
                  <a:gd name="connsiteY12" fmla="*/ 3485100 h 3487260"/>
                  <a:gd name="connsiteX13" fmla="*/ 792108 w 2174319"/>
                  <a:gd name="connsiteY13" fmla="*/ 2839560 h 3487260"/>
                  <a:gd name="connsiteX14" fmla="*/ 0 w 2174319"/>
                  <a:gd name="connsiteY14" fmla="*/ 2837010 h 3487260"/>
                  <a:gd name="connsiteX15" fmla="*/ 0 w 2174319"/>
                  <a:gd name="connsiteY15" fmla="*/ 676710 h 3487260"/>
                  <a:gd name="connsiteX0" fmla="*/ 0 w 2174319"/>
                  <a:gd name="connsiteY0" fmla="*/ 573920 h 3384470"/>
                  <a:gd name="connsiteX1" fmla="*/ 792113 w 2174319"/>
                  <a:gd name="connsiteY1" fmla="*/ 573920 h 3384470"/>
                  <a:gd name="connsiteX2" fmla="*/ 1080153 w 2174319"/>
                  <a:gd name="connsiteY2" fmla="*/ 0 h 3384470"/>
                  <a:gd name="connsiteX3" fmla="*/ 1368193 w 2174319"/>
                  <a:gd name="connsiteY3" fmla="*/ 576080 h 3384470"/>
                  <a:gd name="connsiteX4" fmla="*/ 2160300 w 2174319"/>
                  <a:gd name="connsiteY4" fmla="*/ 573920 h 3384470"/>
                  <a:gd name="connsiteX5" fmla="*/ 2174319 w 2174319"/>
                  <a:gd name="connsiteY5" fmla="*/ 1294020 h 3384470"/>
                  <a:gd name="connsiteX6" fmla="*/ 2174319 w 2174319"/>
                  <a:gd name="connsiteY6" fmla="*/ 1366030 h 3384470"/>
                  <a:gd name="connsiteX7" fmla="*/ 1512208 w 2174319"/>
                  <a:gd name="connsiteY7" fmla="*/ 1654070 h 3384470"/>
                  <a:gd name="connsiteX8" fmla="*/ 2174319 w 2174319"/>
                  <a:gd name="connsiteY8" fmla="*/ 1942110 h 3384470"/>
                  <a:gd name="connsiteX9" fmla="*/ 2162225 w 2174319"/>
                  <a:gd name="connsiteY9" fmla="*/ 2734220 h 3384470"/>
                  <a:gd name="connsiteX10" fmla="*/ 2160300 w 2174319"/>
                  <a:gd name="connsiteY10" fmla="*/ 2734220 h 3384470"/>
                  <a:gd name="connsiteX11" fmla="*/ 1368188 w 2174319"/>
                  <a:gd name="connsiteY11" fmla="*/ 2734220 h 3384470"/>
                  <a:gd name="connsiteX12" fmla="*/ 1080148 w 2174319"/>
                  <a:gd name="connsiteY12" fmla="*/ 3382310 h 3384470"/>
                  <a:gd name="connsiteX13" fmla="*/ 792108 w 2174319"/>
                  <a:gd name="connsiteY13" fmla="*/ 2736770 h 3384470"/>
                  <a:gd name="connsiteX14" fmla="*/ 0 w 2174319"/>
                  <a:gd name="connsiteY14" fmla="*/ 2734220 h 3384470"/>
                  <a:gd name="connsiteX15" fmla="*/ 0 w 2174319"/>
                  <a:gd name="connsiteY15" fmla="*/ 573920 h 3384470"/>
                  <a:gd name="connsiteX0" fmla="*/ 0 w 2174319"/>
                  <a:gd name="connsiteY0" fmla="*/ 645930 h 3456480"/>
                  <a:gd name="connsiteX1" fmla="*/ 792113 w 2174319"/>
                  <a:gd name="connsiteY1" fmla="*/ 645930 h 3456480"/>
                  <a:gd name="connsiteX2" fmla="*/ 1080153 w 2174319"/>
                  <a:gd name="connsiteY2" fmla="*/ 0 h 3456480"/>
                  <a:gd name="connsiteX3" fmla="*/ 1368193 w 2174319"/>
                  <a:gd name="connsiteY3" fmla="*/ 648090 h 3456480"/>
                  <a:gd name="connsiteX4" fmla="*/ 2160300 w 2174319"/>
                  <a:gd name="connsiteY4" fmla="*/ 645930 h 3456480"/>
                  <a:gd name="connsiteX5" fmla="*/ 2174319 w 2174319"/>
                  <a:gd name="connsiteY5" fmla="*/ 1366030 h 3456480"/>
                  <a:gd name="connsiteX6" fmla="*/ 2174319 w 2174319"/>
                  <a:gd name="connsiteY6" fmla="*/ 1438040 h 3456480"/>
                  <a:gd name="connsiteX7" fmla="*/ 1512208 w 2174319"/>
                  <a:gd name="connsiteY7" fmla="*/ 1726080 h 3456480"/>
                  <a:gd name="connsiteX8" fmla="*/ 2174319 w 2174319"/>
                  <a:gd name="connsiteY8" fmla="*/ 2014120 h 3456480"/>
                  <a:gd name="connsiteX9" fmla="*/ 2162225 w 2174319"/>
                  <a:gd name="connsiteY9" fmla="*/ 2806230 h 3456480"/>
                  <a:gd name="connsiteX10" fmla="*/ 2160300 w 2174319"/>
                  <a:gd name="connsiteY10" fmla="*/ 2806230 h 3456480"/>
                  <a:gd name="connsiteX11" fmla="*/ 1368188 w 2174319"/>
                  <a:gd name="connsiteY11" fmla="*/ 2806230 h 3456480"/>
                  <a:gd name="connsiteX12" fmla="*/ 1080148 w 2174319"/>
                  <a:gd name="connsiteY12" fmla="*/ 3454320 h 3456480"/>
                  <a:gd name="connsiteX13" fmla="*/ 792108 w 2174319"/>
                  <a:gd name="connsiteY13" fmla="*/ 2808780 h 3456480"/>
                  <a:gd name="connsiteX14" fmla="*/ 0 w 2174319"/>
                  <a:gd name="connsiteY14" fmla="*/ 2806230 h 3456480"/>
                  <a:gd name="connsiteX15" fmla="*/ 0 w 2174319"/>
                  <a:gd name="connsiteY15" fmla="*/ 645930 h 345648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49870 h 3460420"/>
                  <a:gd name="connsiteX1" fmla="*/ 792113 w 2174319"/>
                  <a:gd name="connsiteY1" fmla="*/ 649870 h 3460420"/>
                  <a:gd name="connsiteX2" fmla="*/ 1080153 w 2174319"/>
                  <a:gd name="connsiteY2" fmla="*/ 3940 h 3460420"/>
                  <a:gd name="connsiteX3" fmla="*/ 1368193 w 2174319"/>
                  <a:gd name="connsiteY3" fmla="*/ 652030 h 3460420"/>
                  <a:gd name="connsiteX4" fmla="*/ 2160300 w 2174319"/>
                  <a:gd name="connsiteY4" fmla="*/ 649870 h 3460420"/>
                  <a:gd name="connsiteX5" fmla="*/ 2174319 w 2174319"/>
                  <a:gd name="connsiteY5" fmla="*/ 1369970 h 3460420"/>
                  <a:gd name="connsiteX6" fmla="*/ 2174319 w 2174319"/>
                  <a:gd name="connsiteY6" fmla="*/ 1441980 h 3460420"/>
                  <a:gd name="connsiteX7" fmla="*/ 1512208 w 2174319"/>
                  <a:gd name="connsiteY7" fmla="*/ 1730020 h 3460420"/>
                  <a:gd name="connsiteX8" fmla="*/ 2174319 w 2174319"/>
                  <a:gd name="connsiteY8" fmla="*/ 2018060 h 3460420"/>
                  <a:gd name="connsiteX9" fmla="*/ 2162225 w 2174319"/>
                  <a:gd name="connsiteY9" fmla="*/ 2810170 h 3460420"/>
                  <a:gd name="connsiteX10" fmla="*/ 2160300 w 2174319"/>
                  <a:gd name="connsiteY10" fmla="*/ 2810170 h 3460420"/>
                  <a:gd name="connsiteX11" fmla="*/ 1368188 w 2174319"/>
                  <a:gd name="connsiteY11" fmla="*/ 2810170 h 3460420"/>
                  <a:gd name="connsiteX12" fmla="*/ 1080148 w 2174319"/>
                  <a:gd name="connsiteY12" fmla="*/ 3458260 h 3460420"/>
                  <a:gd name="connsiteX13" fmla="*/ 792108 w 2174319"/>
                  <a:gd name="connsiteY13" fmla="*/ 2812720 h 3460420"/>
                  <a:gd name="connsiteX14" fmla="*/ 0 w 2174319"/>
                  <a:gd name="connsiteY14" fmla="*/ 2810170 h 3460420"/>
                  <a:gd name="connsiteX15" fmla="*/ 0 w 2174319"/>
                  <a:gd name="connsiteY15" fmla="*/ 649870 h 3460420"/>
                  <a:gd name="connsiteX0" fmla="*/ 0 w 2174319"/>
                  <a:gd name="connsiteY0" fmla="*/ 653810 h 3464360"/>
                  <a:gd name="connsiteX1" fmla="*/ 792113 w 2174319"/>
                  <a:gd name="connsiteY1" fmla="*/ 653810 h 3464360"/>
                  <a:gd name="connsiteX2" fmla="*/ 1080153 w 2174319"/>
                  <a:gd name="connsiteY2" fmla="*/ 394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7750 h 3468300"/>
                  <a:gd name="connsiteX1" fmla="*/ 792113 w 2174319"/>
                  <a:gd name="connsiteY1" fmla="*/ 657750 h 3468300"/>
                  <a:gd name="connsiteX2" fmla="*/ 1080153 w 2174319"/>
                  <a:gd name="connsiteY2" fmla="*/ 3940 h 3468300"/>
                  <a:gd name="connsiteX3" fmla="*/ 1368193 w 2174319"/>
                  <a:gd name="connsiteY3" fmla="*/ 659910 h 3468300"/>
                  <a:gd name="connsiteX4" fmla="*/ 2160300 w 2174319"/>
                  <a:gd name="connsiteY4" fmla="*/ 657750 h 3468300"/>
                  <a:gd name="connsiteX5" fmla="*/ 2174319 w 2174319"/>
                  <a:gd name="connsiteY5" fmla="*/ 1377850 h 3468300"/>
                  <a:gd name="connsiteX6" fmla="*/ 2174319 w 2174319"/>
                  <a:gd name="connsiteY6" fmla="*/ 1449860 h 3468300"/>
                  <a:gd name="connsiteX7" fmla="*/ 1512208 w 2174319"/>
                  <a:gd name="connsiteY7" fmla="*/ 1737900 h 3468300"/>
                  <a:gd name="connsiteX8" fmla="*/ 2174319 w 2174319"/>
                  <a:gd name="connsiteY8" fmla="*/ 2025940 h 3468300"/>
                  <a:gd name="connsiteX9" fmla="*/ 2162225 w 2174319"/>
                  <a:gd name="connsiteY9" fmla="*/ 2818050 h 3468300"/>
                  <a:gd name="connsiteX10" fmla="*/ 2160300 w 2174319"/>
                  <a:gd name="connsiteY10" fmla="*/ 2818050 h 3468300"/>
                  <a:gd name="connsiteX11" fmla="*/ 1368188 w 2174319"/>
                  <a:gd name="connsiteY11" fmla="*/ 2818050 h 3468300"/>
                  <a:gd name="connsiteX12" fmla="*/ 1080148 w 2174319"/>
                  <a:gd name="connsiteY12" fmla="*/ 3466140 h 3468300"/>
                  <a:gd name="connsiteX13" fmla="*/ 792108 w 2174319"/>
                  <a:gd name="connsiteY13" fmla="*/ 2820600 h 3468300"/>
                  <a:gd name="connsiteX14" fmla="*/ 0 w 2174319"/>
                  <a:gd name="connsiteY14" fmla="*/ 2818050 h 3468300"/>
                  <a:gd name="connsiteX15" fmla="*/ 0 w 2174319"/>
                  <a:gd name="connsiteY15" fmla="*/ 657750 h 346830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68193 w 2174319"/>
                  <a:gd name="connsiteY3" fmla="*/ 655970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10 h 3464360"/>
                  <a:gd name="connsiteX1" fmla="*/ 792113 w 2174319"/>
                  <a:gd name="connsiteY1" fmla="*/ 653810 h 3464360"/>
                  <a:gd name="connsiteX2" fmla="*/ 1080153 w 2174319"/>
                  <a:gd name="connsiteY2" fmla="*/ 0 h 3464360"/>
                  <a:gd name="connsiteX3" fmla="*/ 1382211 w 2174319"/>
                  <a:gd name="connsiteY3" fmla="*/ 662112 h 3464360"/>
                  <a:gd name="connsiteX4" fmla="*/ 2160300 w 2174319"/>
                  <a:gd name="connsiteY4" fmla="*/ 653810 h 3464360"/>
                  <a:gd name="connsiteX5" fmla="*/ 2174319 w 2174319"/>
                  <a:gd name="connsiteY5" fmla="*/ 1373910 h 3464360"/>
                  <a:gd name="connsiteX6" fmla="*/ 2174319 w 2174319"/>
                  <a:gd name="connsiteY6" fmla="*/ 1445920 h 3464360"/>
                  <a:gd name="connsiteX7" fmla="*/ 1512208 w 2174319"/>
                  <a:gd name="connsiteY7" fmla="*/ 1733960 h 3464360"/>
                  <a:gd name="connsiteX8" fmla="*/ 2174319 w 2174319"/>
                  <a:gd name="connsiteY8" fmla="*/ 2022000 h 3464360"/>
                  <a:gd name="connsiteX9" fmla="*/ 2162225 w 2174319"/>
                  <a:gd name="connsiteY9" fmla="*/ 2814110 h 3464360"/>
                  <a:gd name="connsiteX10" fmla="*/ 2160300 w 2174319"/>
                  <a:gd name="connsiteY10" fmla="*/ 2814110 h 3464360"/>
                  <a:gd name="connsiteX11" fmla="*/ 1368188 w 2174319"/>
                  <a:gd name="connsiteY11" fmla="*/ 2814110 h 3464360"/>
                  <a:gd name="connsiteX12" fmla="*/ 1080148 w 2174319"/>
                  <a:gd name="connsiteY12" fmla="*/ 3462200 h 3464360"/>
                  <a:gd name="connsiteX13" fmla="*/ 792108 w 2174319"/>
                  <a:gd name="connsiteY13" fmla="*/ 2816660 h 3464360"/>
                  <a:gd name="connsiteX14" fmla="*/ 0 w 2174319"/>
                  <a:gd name="connsiteY14" fmla="*/ 2814110 h 3464360"/>
                  <a:gd name="connsiteX15" fmla="*/ 0 w 2174319"/>
                  <a:gd name="connsiteY15" fmla="*/ 653810 h 3464360"/>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8 h 3464358"/>
                  <a:gd name="connsiteX1" fmla="*/ 792113 w 2174319"/>
                  <a:gd name="connsiteY1" fmla="*/ 653808 h 3464358"/>
                  <a:gd name="connsiteX2" fmla="*/ 1094169 w 2174319"/>
                  <a:gd name="connsiteY2" fmla="*/ 0 h 3464358"/>
                  <a:gd name="connsiteX3" fmla="*/ 1382211 w 2174319"/>
                  <a:gd name="connsiteY3" fmla="*/ 662110 h 3464358"/>
                  <a:gd name="connsiteX4" fmla="*/ 2160300 w 2174319"/>
                  <a:gd name="connsiteY4" fmla="*/ 653808 h 3464358"/>
                  <a:gd name="connsiteX5" fmla="*/ 2174319 w 2174319"/>
                  <a:gd name="connsiteY5" fmla="*/ 1373908 h 3464358"/>
                  <a:gd name="connsiteX6" fmla="*/ 2174319 w 2174319"/>
                  <a:gd name="connsiteY6" fmla="*/ 1445918 h 3464358"/>
                  <a:gd name="connsiteX7" fmla="*/ 1512208 w 2174319"/>
                  <a:gd name="connsiteY7" fmla="*/ 1733958 h 3464358"/>
                  <a:gd name="connsiteX8" fmla="*/ 2174319 w 2174319"/>
                  <a:gd name="connsiteY8" fmla="*/ 2021998 h 3464358"/>
                  <a:gd name="connsiteX9" fmla="*/ 2162225 w 2174319"/>
                  <a:gd name="connsiteY9" fmla="*/ 2814108 h 3464358"/>
                  <a:gd name="connsiteX10" fmla="*/ 2160300 w 2174319"/>
                  <a:gd name="connsiteY10" fmla="*/ 2814108 h 3464358"/>
                  <a:gd name="connsiteX11" fmla="*/ 1368188 w 2174319"/>
                  <a:gd name="connsiteY11" fmla="*/ 2814108 h 3464358"/>
                  <a:gd name="connsiteX12" fmla="*/ 1080148 w 2174319"/>
                  <a:gd name="connsiteY12" fmla="*/ 3462198 h 3464358"/>
                  <a:gd name="connsiteX13" fmla="*/ 792108 w 2174319"/>
                  <a:gd name="connsiteY13" fmla="*/ 2816658 h 3464358"/>
                  <a:gd name="connsiteX14" fmla="*/ 0 w 2174319"/>
                  <a:gd name="connsiteY14" fmla="*/ 2814108 h 3464358"/>
                  <a:gd name="connsiteX15" fmla="*/ 0 w 2174319"/>
                  <a:gd name="connsiteY15" fmla="*/ 653808 h 3464358"/>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94168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653806 h 3464356"/>
                  <a:gd name="connsiteX1" fmla="*/ 792113 w 2174319"/>
                  <a:gd name="connsiteY1" fmla="*/ 653806 h 3464356"/>
                  <a:gd name="connsiteX2" fmla="*/ 1080152 w 2174319"/>
                  <a:gd name="connsiteY2" fmla="*/ 0 h 3464356"/>
                  <a:gd name="connsiteX3" fmla="*/ 1382211 w 2174319"/>
                  <a:gd name="connsiteY3" fmla="*/ 662108 h 3464356"/>
                  <a:gd name="connsiteX4" fmla="*/ 2160300 w 2174319"/>
                  <a:gd name="connsiteY4" fmla="*/ 653806 h 3464356"/>
                  <a:gd name="connsiteX5" fmla="*/ 2174319 w 2174319"/>
                  <a:gd name="connsiteY5" fmla="*/ 1373906 h 3464356"/>
                  <a:gd name="connsiteX6" fmla="*/ 2174319 w 2174319"/>
                  <a:gd name="connsiteY6" fmla="*/ 1445916 h 3464356"/>
                  <a:gd name="connsiteX7" fmla="*/ 1512208 w 2174319"/>
                  <a:gd name="connsiteY7" fmla="*/ 1733956 h 3464356"/>
                  <a:gd name="connsiteX8" fmla="*/ 2174319 w 2174319"/>
                  <a:gd name="connsiteY8" fmla="*/ 2021996 h 3464356"/>
                  <a:gd name="connsiteX9" fmla="*/ 2162225 w 2174319"/>
                  <a:gd name="connsiteY9" fmla="*/ 2814106 h 3464356"/>
                  <a:gd name="connsiteX10" fmla="*/ 2160300 w 2174319"/>
                  <a:gd name="connsiteY10" fmla="*/ 2814106 h 3464356"/>
                  <a:gd name="connsiteX11" fmla="*/ 1368188 w 2174319"/>
                  <a:gd name="connsiteY11" fmla="*/ 2814106 h 3464356"/>
                  <a:gd name="connsiteX12" fmla="*/ 1080148 w 2174319"/>
                  <a:gd name="connsiteY12" fmla="*/ 3462196 h 3464356"/>
                  <a:gd name="connsiteX13" fmla="*/ 792108 w 2174319"/>
                  <a:gd name="connsiteY13" fmla="*/ 2816656 h 3464356"/>
                  <a:gd name="connsiteX14" fmla="*/ 0 w 2174319"/>
                  <a:gd name="connsiteY14" fmla="*/ 2814106 h 3464356"/>
                  <a:gd name="connsiteX15" fmla="*/ 0 w 2174319"/>
                  <a:gd name="connsiteY15" fmla="*/ 653806 h 3464356"/>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0 w 2174319"/>
                  <a:gd name="connsiteY15"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0" fmla="*/ 0 w 2174319"/>
                  <a:gd name="connsiteY0" fmla="*/ 717940 h 3528490"/>
                  <a:gd name="connsiteX1" fmla="*/ 792113 w 2174319"/>
                  <a:gd name="connsiteY1" fmla="*/ 717940 h 3528490"/>
                  <a:gd name="connsiteX2" fmla="*/ 1080152 w 2174319"/>
                  <a:gd name="connsiteY2" fmla="*/ 0 h 3528490"/>
                  <a:gd name="connsiteX3" fmla="*/ 1382211 w 2174319"/>
                  <a:gd name="connsiteY3" fmla="*/ 726242 h 3528490"/>
                  <a:gd name="connsiteX4" fmla="*/ 2160300 w 2174319"/>
                  <a:gd name="connsiteY4" fmla="*/ 717940 h 3528490"/>
                  <a:gd name="connsiteX5" fmla="*/ 2174319 w 2174319"/>
                  <a:gd name="connsiteY5" fmla="*/ 1438040 h 3528490"/>
                  <a:gd name="connsiteX6" fmla="*/ 2174319 w 2174319"/>
                  <a:gd name="connsiteY6" fmla="*/ 1510050 h 3528490"/>
                  <a:gd name="connsiteX7" fmla="*/ 1512208 w 2174319"/>
                  <a:gd name="connsiteY7" fmla="*/ 1798090 h 3528490"/>
                  <a:gd name="connsiteX8" fmla="*/ 2174319 w 2174319"/>
                  <a:gd name="connsiteY8" fmla="*/ 2086130 h 3528490"/>
                  <a:gd name="connsiteX9" fmla="*/ 2162225 w 2174319"/>
                  <a:gd name="connsiteY9" fmla="*/ 2878240 h 3528490"/>
                  <a:gd name="connsiteX10" fmla="*/ 2160300 w 2174319"/>
                  <a:gd name="connsiteY10" fmla="*/ 2878240 h 3528490"/>
                  <a:gd name="connsiteX11" fmla="*/ 1368188 w 2174319"/>
                  <a:gd name="connsiteY11" fmla="*/ 2878240 h 3528490"/>
                  <a:gd name="connsiteX12" fmla="*/ 1080148 w 2174319"/>
                  <a:gd name="connsiteY12" fmla="*/ 3526330 h 3528490"/>
                  <a:gd name="connsiteX13" fmla="*/ 792108 w 2174319"/>
                  <a:gd name="connsiteY13" fmla="*/ 2880790 h 3528490"/>
                  <a:gd name="connsiteX14" fmla="*/ 0 w 2174319"/>
                  <a:gd name="connsiteY14" fmla="*/ 2878240 h 3528490"/>
                  <a:gd name="connsiteX15" fmla="*/ 1817 w 2174319"/>
                  <a:gd name="connsiteY15" fmla="*/ 2065560 h 3528490"/>
                  <a:gd name="connsiteX16" fmla="*/ 0 w 2174319"/>
                  <a:gd name="connsiteY16" fmla="*/ 717940 h 3528490"/>
                  <a:gd name="connsiteX17" fmla="*/ 1817 w 2174319"/>
                  <a:gd name="connsiteY17" fmla="*/ 705886 h 3528490"/>
                  <a:gd name="connsiteX0" fmla="*/ 4056 w 2178375"/>
                  <a:gd name="connsiteY0" fmla="*/ 717940 h 3528490"/>
                  <a:gd name="connsiteX1" fmla="*/ 796169 w 2178375"/>
                  <a:gd name="connsiteY1" fmla="*/ 717940 h 3528490"/>
                  <a:gd name="connsiteX2" fmla="*/ 1084208 w 2178375"/>
                  <a:gd name="connsiteY2" fmla="*/ 0 h 3528490"/>
                  <a:gd name="connsiteX3" fmla="*/ 1386267 w 2178375"/>
                  <a:gd name="connsiteY3" fmla="*/ 726242 h 3528490"/>
                  <a:gd name="connsiteX4" fmla="*/ 2164356 w 2178375"/>
                  <a:gd name="connsiteY4" fmla="*/ 717940 h 3528490"/>
                  <a:gd name="connsiteX5" fmla="*/ 2178375 w 2178375"/>
                  <a:gd name="connsiteY5" fmla="*/ 1438040 h 3528490"/>
                  <a:gd name="connsiteX6" fmla="*/ 2178375 w 2178375"/>
                  <a:gd name="connsiteY6" fmla="*/ 1510050 h 3528490"/>
                  <a:gd name="connsiteX7" fmla="*/ 1516264 w 2178375"/>
                  <a:gd name="connsiteY7" fmla="*/ 1798090 h 3528490"/>
                  <a:gd name="connsiteX8" fmla="*/ 2178375 w 2178375"/>
                  <a:gd name="connsiteY8" fmla="*/ 2086130 h 3528490"/>
                  <a:gd name="connsiteX9" fmla="*/ 2166281 w 2178375"/>
                  <a:gd name="connsiteY9" fmla="*/ 2878240 h 3528490"/>
                  <a:gd name="connsiteX10" fmla="*/ 2164356 w 2178375"/>
                  <a:gd name="connsiteY10" fmla="*/ 2878240 h 3528490"/>
                  <a:gd name="connsiteX11" fmla="*/ 1372244 w 2178375"/>
                  <a:gd name="connsiteY11" fmla="*/ 2878240 h 3528490"/>
                  <a:gd name="connsiteX12" fmla="*/ 1084204 w 2178375"/>
                  <a:gd name="connsiteY12" fmla="*/ 3526330 h 3528490"/>
                  <a:gd name="connsiteX13" fmla="*/ 796164 w 2178375"/>
                  <a:gd name="connsiteY13" fmla="*/ 2880790 h 3528490"/>
                  <a:gd name="connsiteX14" fmla="*/ 4056 w 2178375"/>
                  <a:gd name="connsiteY14" fmla="*/ 2878240 h 3528490"/>
                  <a:gd name="connsiteX15" fmla="*/ 5873 w 2178375"/>
                  <a:gd name="connsiteY15" fmla="*/ 2065560 h 3528490"/>
                  <a:gd name="connsiteX16" fmla="*/ 304 w 2178375"/>
                  <a:gd name="connsiteY16" fmla="*/ 1414348 h 3528490"/>
                  <a:gd name="connsiteX17" fmla="*/ 4056 w 2178375"/>
                  <a:gd name="connsiteY17" fmla="*/ 717940 h 3528490"/>
                  <a:gd name="connsiteX18" fmla="*/ 5873 w 2178375"/>
                  <a:gd name="connsiteY18" fmla="*/ 705886 h 3528490"/>
                  <a:gd name="connsiteX19" fmla="*/ 4056 w 2178375"/>
                  <a:gd name="connsiteY19" fmla="*/ 717940 h 3528490"/>
                  <a:gd name="connsiteX0" fmla="*/ 5655 w 2179974"/>
                  <a:gd name="connsiteY0" fmla="*/ 717940 h 3528490"/>
                  <a:gd name="connsiteX1" fmla="*/ 797768 w 2179974"/>
                  <a:gd name="connsiteY1" fmla="*/ 717940 h 3528490"/>
                  <a:gd name="connsiteX2" fmla="*/ 1085807 w 2179974"/>
                  <a:gd name="connsiteY2" fmla="*/ 0 h 3528490"/>
                  <a:gd name="connsiteX3" fmla="*/ 1387866 w 2179974"/>
                  <a:gd name="connsiteY3" fmla="*/ 726242 h 3528490"/>
                  <a:gd name="connsiteX4" fmla="*/ 2165955 w 2179974"/>
                  <a:gd name="connsiteY4" fmla="*/ 717940 h 3528490"/>
                  <a:gd name="connsiteX5" fmla="*/ 2179974 w 2179974"/>
                  <a:gd name="connsiteY5" fmla="*/ 1438040 h 3528490"/>
                  <a:gd name="connsiteX6" fmla="*/ 2179974 w 2179974"/>
                  <a:gd name="connsiteY6" fmla="*/ 1510050 h 3528490"/>
                  <a:gd name="connsiteX7" fmla="*/ 1517863 w 2179974"/>
                  <a:gd name="connsiteY7" fmla="*/ 1798090 h 3528490"/>
                  <a:gd name="connsiteX8" fmla="*/ 2179974 w 2179974"/>
                  <a:gd name="connsiteY8" fmla="*/ 2086130 h 3528490"/>
                  <a:gd name="connsiteX9" fmla="*/ 2167880 w 2179974"/>
                  <a:gd name="connsiteY9" fmla="*/ 2878240 h 3528490"/>
                  <a:gd name="connsiteX10" fmla="*/ 2165955 w 2179974"/>
                  <a:gd name="connsiteY10" fmla="*/ 2878240 h 3528490"/>
                  <a:gd name="connsiteX11" fmla="*/ 1373843 w 2179974"/>
                  <a:gd name="connsiteY11" fmla="*/ 2878240 h 3528490"/>
                  <a:gd name="connsiteX12" fmla="*/ 1085803 w 2179974"/>
                  <a:gd name="connsiteY12" fmla="*/ 3526330 h 3528490"/>
                  <a:gd name="connsiteX13" fmla="*/ 797763 w 2179974"/>
                  <a:gd name="connsiteY13" fmla="*/ 2880790 h 3528490"/>
                  <a:gd name="connsiteX14" fmla="*/ 5655 w 2179974"/>
                  <a:gd name="connsiteY14" fmla="*/ 2878240 h 3528490"/>
                  <a:gd name="connsiteX15" fmla="*/ 7472 w 2179974"/>
                  <a:gd name="connsiteY15" fmla="*/ 2065560 h 3528490"/>
                  <a:gd name="connsiteX16" fmla="*/ 1903 w 2179974"/>
                  <a:gd name="connsiteY16" fmla="*/ 1414348 h 3528490"/>
                  <a:gd name="connsiteX17" fmla="*/ 5655 w 2179974"/>
                  <a:gd name="connsiteY17" fmla="*/ 717940 h 3528490"/>
                  <a:gd name="connsiteX18" fmla="*/ 7472 w 2179974"/>
                  <a:gd name="connsiteY18" fmla="*/ 705886 h 3528490"/>
                  <a:gd name="connsiteX19" fmla="*/ 5655 w 2179974"/>
                  <a:gd name="connsiteY19" fmla="*/ 717940 h 3528490"/>
                  <a:gd name="connsiteX0" fmla="*/ 10244 w 2184563"/>
                  <a:gd name="connsiteY0" fmla="*/ 717940 h 3528490"/>
                  <a:gd name="connsiteX1" fmla="*/ 802357 w 2184563"/>
                  <a:gd name="connsiteY1" fmla="*/ 717940 h 3528490"/>
                  <a:gd name="connsiteX2" fmla="*/ 1090396 w 2184563"/>
                  <a:gd name="connsiteY2" fmla="*/ 0 h 3528490"/>
                  <a:gd name="connsiteX3" fmla="*/ 1392455 w 2184563"/>
                  <a:gd name="connsiteY3" fmla="*/ 726242 h 3528490"/>
                  <a:gd name="connsiteX4" fmla="*/ 2170544 w 2184563"/>
                  <a:gd name="connsiteY4" fmla="*/ 717940 h 3528490"/>
                  <a:gd name="connsiteX5" fmla="*/ 2184563 w 2184563"/>
                  <a:gd name="connsiteY5" fmla="*/ 1438040 h 3528490"/>
                  <a:gd name="connsiteX6" fmla="*/ 2184563 w 2184563"/>
                  <a:gd name="connsiteY6" fmla="*/ 1510050 h 3528490"/>
                  <a:gd name="connsiteX7" fmla="*/ 1522452 w 2184563"/>
                  <a:gd name="connsiteY7" fmla="*/ 1798090 h 3528490"/>
                  <a:gd name="connsiteX8" fmla="*/ 2184563 w 2184563"/>
                  <a:gd name="connsiteY8" fmla="*/ 2086130 h 3528490"/>
                  <a:gd name="connsiteX9" fmla="*/ 2172469 w 2184563"/>
                  <a:gd name="connsiteY9" fmla="*/ 2878240 h 3528490"/>
                  <a:gd name="connsiteX10" fmla="*/ 2170544 w 2184563"/>
                  <a:gd name="connsiteY10" fmla="*/ 2878240 h 3528490"/>
                  <a:gd name="connsiteX11" fmla="*/ 1378432 w 2184563"/>
                  <a:gd name="connsiteY11" fmla="*/ 2878240 h 3528490"/>
                  <a:gd name="connsiteX12" fmla="*/ 1090392 w 2184563"/>
                  <a:gd name="connsiteY12" fmla="*/ 3526330 h 3528490"/>
                  <a:gd name="connsiteX13" fmla="*/ 802352 w 2184563"/>
                  <a:gd name="connsiteY13" fmla="*/ 2880790 h 3528490"/>
                  <a:gd name="connsiteX14" fmla="*/ 10244 w 2184563"/>
                  <a:gd name="connsiteY14" fmla="*/ 2878240 h 3528490"/>
                  <a:gd name="connsiteX15" fmla="*/ 12061 w 2184563"/>
                  <a:gd name="connsiteY15" fmla="*/ 2065560 h 3528490"/>
                  <a:gd name="connsiteX16" fmla="*/ 928 w 2184563"/>
                  <a:gd name="connsiteY16" fmla="*/ 1722064 h 3528490"/>
                  <a:gd name="connsiteX17" fmla="*/ 6492 w 2184563"/>
                  <a:gd name="connsiteY17" fmla="*/ 1414348 h 3528490"/>
                  <a:gd name="connsiteX18" fmla="*/ 10244 w 2184563"/>
                  <a:gd name="connsiteY18" fmla="*/ 717940 h 3528490"/>
                  <a:gd name="connsiteX19" fmla="*/ 12061 w 2184563"/>
                  <a:gd name="connsiteY19" fmla="*/ 705886 h 3528490"/>
                  <a:gd name="connsiteX20" fmla="*/ 10244 w 2184563"/>
                  <a:gd name="connsiteY20" fmla="*/ 717940 h 3528490"/>
                  <a:gd name="connsiteX0" fmla="*/ 675848 w 2850167"/>
                  <a:gd name="connsiteY0" fmla="*/ 717940 h 3528490"/>
                  <a:gd name="connsiteX1" fmla="*/ 1467961 w 2850167"/>
                  <a:gd name="connsiteY1" fmla="*/ 717940 h 3528490"/>
                  <a:gd name="connsiteX2" fmla="*/ 1756000 w 2850167"/>
                  <a:gd name="connsiteY2" fmla="*/ 0 h 3528490"/>
                  <a:gd name="connsiteX3" fmla="*/ 2058059 w 2850167"/>
                  <a:gd name="connsiteY3" fmla="*/ 726242 h 3528490"/>
                  <a:gd name="connsiteX4" fmla="*/ 2836148 w 2850167"/>
                  <a:gd name="connsiteY4" fmla="*/ 717940 h 3528490"/>
                  <a:gd name="connsiteX5" fmla="*/ 2850167 w 2850167"/>
                  <a:gd name="connsiteY5" fmla="*/ 1438040 h 3528490"/>
                  <a:gd name="connsiteX6" fmla="*/ 2850167 w 2850167"/>
                  <a:gd name="connsiteY6" fmla="*/ 1510050 h 3528490"/>
                  <a:gd name="connsiteX7" fmla="*/ 2188056 w 2850167"/>
                  <a:gd name="connsiteY7" fmla="*/ 1798090 h 3528490"/>
                  <a:gd name="connsiteX8" fmla="*/ 2850167 w 2850167"/>
                  <a:gd name="connsiteY8" fmla="*/ 2086130 h 3528490"/>
                  <a:gd name="connsiteX9" fmla="*/ 2838073 w 2850167"/>
                  <a:gd name="connsiteY9" fmla="*/ 2878240 h 3528490"/>
                  <a:gd name="connsiteX10" fmla="*/ 2836148 w 2850167"/>
                  <a:gd name="connsiteY10" fmla="*/ 2878240 h 3528490"/>
                  <a:gd name="connsiteX11" fmla="*/ 2044036 w 2850167"/>
                  <a:gd name="connsiteY11" fmla="*/ 2878240 h 3528490"/>
                  <a:gd name="connsiteX12" fmla="*/ 1755996 w 2850167"/>
                  <a:gd name="connsiteY12" fmla="*/ 3526330 h 3528490"/>
                  <a:gd name="connsiteX13" fmla="*/ 1467956 w 2850167"/>
                  <a:gd name="connsiteY13" fmla="*/ 2880790 h 3528490"/>
                  <a:gd name="connsiteX14" fmla="*/ 675848 w 2850167"/>
                  <a:gd name="connsiteY14" fmla="*/ 2878240 h 3528490"/>
                  <a:gd name="connsiteX15" fmla="*/ 677665 w 2850167"/>
                  <a:gd name="connsiteY15" fmla="*/ 2065560 h 3528490"/>
                  <a:gd name="connsiteX16" fmla="*/ 928 w 2850167"/>
                  <a:gd name="connsiteY16" fmla="*/ 1629332 h 3528490"/>
                  <a:gd name="connsiteX17" fmla="*/ 672096 w 2850167"/>
                  <a:gd name="connsiteY17" fmla="*/ 1414348 h 3528490"/>
                  <a:gd name="connsiteX18" fmla="*/ 675848 w 2850167"/>
                  <a:gd name="connsiteY18" fmla="*/ 717940 h 3528490"/>
                  <a:gd name="connsiteX19" fmla="*/ 677665 w 2850167"/>
                  <a:gd name="connsiteY19" fmla="*/ 705886 h 3528490"/>
                  <a:gd name="connsiteX20" fmla="*/ 675848 w 2850167"/>
                  <a:gd name="connsiteY20" fmla="*/ 717940 h 3528490"/>
                  <a:gd name="connsiteX0" fmla="*/ 675481 w 2849800"/>
                  <a:gd name="connsiteY0" fmla="*/ 717940 h 3528490"/>
                  <a:gd name="connsiteX1" fmla="*/ 1467594 w 2849800"/>
                  <a:gd name="connsiteY1" fmla="*/ 717940 h 3528490"/>
                  <a:gd name="connsiteX2" fmla="*/ 1755633 w 2849800"/>
                  <a:gd name="connsiteY2" fmla="*/ 0 h 3528490"/>
                  <a:gd name="connsiteX3" fmla="*/ 2057692 w 2849800"/>
                  <a:gd name="connsiteY3" fmla="*/ 726242 h 3528490"/>
                  <a:gd name="connsiteX4" fmla="*/ 2835781 w 2849800"/>
                  <a:gd name="connsiteY4" fmla="*/ 717940 h 3528490"/>
                  <a:gd name="connsiteX5" fmla="*/ 2849800 w 2849800"/>
                  <a:gd name="connsiteY5" fmla="*/ 1438040 h 3528490"/>
                  <a:gd name="connsiteX6" fmla="*/ 2849800 w 2849800"/>
                  <a:gd name="connsiteY6" fmla="*/ 1510050 h 3528490"/>
                  <a:gd name="connsiteX7" fmla="*/ 2187689 w 2849800"/>
                  <a:gd name="connsiteY7" fmla="*/ 1798090 h 3528490"/>
                  <a:gd name="connsiteX8" fmla="*/ 2849800 w 2849800"/>
                  <a:gd name="connsiteY8" fmla="*/ 2086130 h 3528490"/>
                  <a:gd name="connsiteX9" fmla="*/ 2837706 w 2849800"/>
                  <a:gd name="connsiteY9" fmla="*/ 2878240 h 3528490"/>
                  <a:gd name="connsiteX10" fmla="*/ 2835781 w 2849800"/>
                  <a:gd name="connsiteY10" fmla="*/ 2878240 h 3528490"/>
                  <a:gd name="connsiteX11" fmla="*/ 2043669 w 2849800"/>
                  <a:gd name="connsiteY11" fmla="*/ 2878240 h 3528490"/>
                  <a:gd name="connsiteX12" fmla="*/ 1755629 w 2849800"/>
                  <a:gd name="connsiteY12" fmla="*/ 3526330 h 3528490"/>
                  <a:gd name="connsiteX13" fmla="*/ 1467589 w 2849800"/>
                  <a:gd name="connsiteY13" fmla="*/ 2880790 h 3528490"/>
                  <a:gd name="connsiteX14" fmla="*/ 675481 w 2849800"/>
                  <a:gd name="connsiteY14" fmla="*/ 2878240 h 3528490"/>
                  <a:gd name="connsiteX15" fmla="*/ 677298 w 2849800"/>
                  <a:gd name="connsiteY15" fmla="*/ 2065560 h 3528490"/>
                  <a:gd name="connsiteX16" fmla="*/ 561 w 2849800"/>
                  <a:gd name="connsiteY16" fmla="*/ 1629332 h 3528490"/>
                  <a:gd name="connsiteX17" fmla="*/ 673936 w 2849800"/>
                  <a:gd name="connsiteY17" fmla="*/ 1412932 h 3528490"/>
                  <a:gd name="connsiteX18" fmla="*/ 675481 w 2849800"/>
                  <a:gd name="connsiteY18" fmla="*/ 717940 h 3528490"/>
                  <a:gd name="connsiteX19" fmla="*/ 677298 w 2849800"/>
                  <a:gd name="connsiteY19" fmla="*/ 705886 h 3528490"/>
                  <a:gd name="connsiteX20" fmla="*/ 675481 w 2849800"/>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196533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629332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2785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82922 w 2857241"/>
                  <a:gd name="connsiteY0" fmla="*/ 717940 h 3528490"/>
                  <a:gd name="connsiteX1" fmla="*/ 1475035 w 2857241"/>
                  <a:gd name="connsiteY1" fmla="*/ 717940 h 3528490"/>
                  <a:gd name="connsiteX2" fmla="*/ 1763074 w 2857241"/>
                  <a:gd name="connsiteY2" fmla="*/ 0 h 3528490"/>
                  <a:gd name="connsiteX3" fmla="*/ 2065133 w 2857241"/>
                  <a:gd name="connsiteY3" fmla="*/ 726242 h 3528490"/>
                  <a:gd name="connsiteX4" fmla="*/ 2843222 w 2857241"/>
                  <a:gd name="connsiteY4" fmla="*/ 717940 h 3528490"/>
                  <a:gd name="connsiteX5" fmla="*/ 2857241 w 2857241"/>
                  <a:gd name="connsiteY5" fmla="*/ 1438040 h 3528490"/>
                  <a:gd name="connsiteX6" fmla="*/ 2857241 w 2857241"/>
                  <a:gd name="connsiteY6" fmla="*/ 1510050 h 3528490"/>
                  <a:gd name="connsiteX7" fmla="*/ 2195130 w 2857241"/>
                  <a:gd name="connsiteY7" fmla="*/ 1798090 h 3528490"/>
                  <a:gd name="connsiteX8" fmla="*/ 2857241 w 2857241"/>
                  <a:gd name="connsiteY8" fmla="*/ 2086130 h 3528490"/>
                  <a:gd name="connsiteX9" fmla="*/ 2845147 w 2857241"/>
                  <a:gd name="connsiteY9" fmla="*/ 2878240 h 3528490"/>
                  <a:gd name="connsiteX10" fmla="*/ 2843222 w 2857241"/>
                  <a:gd name="connsiteY10" fmla="*/ 2878240 h 3528490"/>
                  <a:gd name="connsiteX11" fmla="*/ 2051110 w 2857241"/>
                  <a:gd name="connsiteY11" fmla="*/ 2878240 h 3528490"/>
                  <a:gd name="connsiteX12" fmla="*/ 1763070 w 2857241"/>
                  <a:gd name="connsiteY12" fmla="*/ 3526330 h 3528490"/>
                  <a:gd name="connsiteX13" fmla="*/ 1475030 w 2857241"/>
                  <a:gd name="connsiteY13" fmla="*/ 2880790 h 3528490"/>
                  <a:gd name="connsiteX14" fmla="*/ 682922 w 2857241"/>
                  <a:gd name="connsiteY14" fmla="*/ 2878240 h 3528490"/>
                  <a:gd name="connsiteX15" fmla="*/ 681377 w 2857241"/>
                  <a:gd name="connsiteY15" fmla="*/ 2278531 h 3528490"/>
                  <a:gd name="connsiteX16" fmla="*/ 8002 w 2857241"/>
                  <a:gd name="connsiteY16" fmla="*/ 1845731 h 3528490"/>
                  <a:gd name="connsiteX17" fmla="*/ 681377 w 2857241"/>
                  <a:gd name="connsiteY17" fmla="*/ 1412932 h 3528490"/>
                  <a:gd name="connsiteX18" fmla="*/ 682922 w 2857241"/>
                  <a:gd name="connsiteY18" fmla="*/ 717940 h 3528490"/>
                  <a:gd name="connsiteX19" fmla="*/ 684739 w 2857241"/>
                  <a:gd name="connsiteY19" fmla="*/ 705886 h 3528490"/>
                  <a:gd name="connsiteX20" fmla="*/ 682922 w 285724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6293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2785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9792 w 2854111"/>
                  <a:gd name="connsiteY0" fmla="*/ 717940 h 3528490"/>
                  <a:gd name="connsiteX1" fmla="*/ 1471905 w 2854111"/>
                  <a:gd name="connsiteY1" fmla="*/ 717940 h 3528490"/>
                  <a:gd name="connsiteX2" fmla="*/ 1759944 w 2854111"/>
                  <a:gd name="connsiteY2" fmla="*/ 0 h 3528490"/>
                  <a:gd name="connsiteX3" fmla="*/ 2062003 w 2854111"/>
                  <a:gd name="connsiteY3" fmla="*/ 726242 h 3528490"/>
                  <a:gd name="connsiteX4" fmla="*/ 2840092 w 2854111"/>
                  <a:gd name="connsiteY4" fmla="*/ 717940 h 3528490"/>
                  <a:gd name="connsiteX5" fmla="*/ 2854111 w 2854111"/>
                  <a:gd name="connsiteY5" fmla="*/ 1438040 h 3528490"/>
                  <a:gd name="connsiteX6" fmla="*/ 2854111 w 2854111"/>
                  <a:gd name="connsiteY6" fmla="*/ 1510050 h 3528490"/>
                  <a:gd name="connsiteX7" fmla="*/ 2192000 w 2854111"/>
                  <a:gd name="connsiteY7" fmla="*/ 1798090 h 3528490"/>
                  <a:gd name="connsiteX8" fmla="*/ 2854111 w 2854111"/>
                  <a:gd name="connsiteY8" fmla="*/ 2086130 h 3528490"/>
                  <a:gd name="connsiteX9" fmla="*/ 2842017 w 2854111"/>
                  <a:gd name="connsiteY9" fmla="*/ 2878240 h 3528490"/>
                  <a:gd name="connsiteX10" fmla="*/ 2840092 w 2854111"/>
                  <a:gd name="connsiteY10" fmla="*/ 2878240 h 3528490"/>
                  <a:gd name="connsiteX11" fmla="*/ 2047980 w 2854111"/>
                  <a:gd name="connsiteY11" fmla="*/ 2878240 h 3528490"/>
                  <a:gd name="connsiteX12" fmla="*/ 1759940 w 2854111"/>
                  <a:gd name="connsiteY12" fmla="*/ 3526330 h 3528490"/>
                  <a:gd name="connsiteX13" fmla="*/ 1471900 w 2854111"/>
                  <a:gd name="connsiteY13" fmla="*/ 2880790 h 3528490"/>
                  <a:gd name="connsiteX14" fmla="*/ 679792 w 2854111"/>
                  <a:gd name="connsiteY14" fmla="*/ 2878240 h 3528490"/>
                  <a:gd name="connsiteX15" fmla="*/ 678247 w 2854111"/>
                  <a:gd name="connsiteY15" fmla="*/ 2062131 h 3528490"/>
                  <a:gd name="connsiteX16" fmla="*/ 4872 w 2854111"/>
                  <a:gd name="connsiteY16" fmla="*/ 1845731 h 3528490"/>
                  <a:gd name="connsiteX17" fmla="*/ 678247 w 2854111"/>
                  <a:gd name="connsiteY17" fmla="*/ 1412932 h 3528490"/>
                  <a:gd name="connsiteX18" fmla="*/ 679792 w 2854111"/>
                  <a:gd name="connsiteY18" fmla="*/ 717940 h 3528490"/>
                  <a:gd name="connsiteX19" fmla="*/ 681609 w 2854111"/>
                  <a:gd name="connsiteY19" fmla="*/ 705886 h 3528490"/>
                  <a:gd name="connsiteX20" fmla="*/ 679792 w 2854111"/>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 name="connsiteX0" fmla="*/ 674920 w 2849239"/>
                  <a:gd name="connsiteY0" fmla="*/ 717940 h 3528490"/>
                  <a:gd name="connsiteX1" fmla="*/ 1467033 w 2849239"/>
                  <a:gd name="connsiteY1" fmla="*/ 717940 h 3528490"/>
                  <a:gd name="connsiteX2" fmla="*/ 1755072 w 2849239"/>
                  <a:gd name="connsiteY2" fmla="*/ 0 h 3528490"/>
                  <a:gd name="connsiteX3" fmla="*/ 2057131 w 2849239"/>
                  <a:gd name="connsiteY3" fmla="*/ 726242 h 3528490"/>
                  <a:gd name="connsiteX4" fmla="*/ 2835220 w 2849239"/>
                  <a:gd name="connsiteY4" fmla="*/ 717940 h 3528490"/>
                  <a:gd name="connsiteX5" fmla="*/ 2849239 w 2849239"/>
                  <a:gd name="connsiteY5" fmla="*/ 1438040 h 3528490"/>
                  <a:gd name="connsiteX6" fmla="*/ 2849239 w 2849239"/>
                  <a:gd name="connsiteY6" fmla="*/ 1510050 h 3528490"/>
                  <a:gd name="connsiteX7" fmla="*/ 2187128 w 2849239"/>
                  <a:gd name="connsiteY7" fmla="*/ 1798090 h 3528490"/>
                  <a:gd name="connsiteX8" fmla="*/ 2849239 w 2849239"/>
                  <a:gd name="connsiteY8" fmla="*/ 2086130 h 3528490"/>
                  <a:gd name="connsiteX9" fmla="*/ 2837145 w 2849239"/>
                  <a:gd name="connsiteY9" fmla="*/ 2878240 h 3528490"/>
                  <a:gd name="connsiteX10" fmla="*/ 2835220 w 2849239"/>
                  <a:gd name="connsiteY10" fmla="*/ 2878240 h 3528490"/>
                  <a:gd name="connsiteX11" fmla="*/ 2043108 w 2849239"/>
                  <a:gd name="connsiteY11" fmla="*/ 2878240 h 3528490"/>
                  <a:gd name="connsiteX12" fmla="*/ 1755068 w 2849239"/>
                  <a:gd name="connsiteY12" fmla="*/ 3526330 h 3528490"/>
                  <a:gd name="connsiteX13" fmla="*/ 1467028 w 2849239"/>
                  <a:gd name="connsiteY13" fmla="*/ 2880790 h 3528490"/>
                  <a:gd name="connsiteX14" fmla="*/ 674920 w 2849239"/>
                  <a:gd name="connsiteY14" fmla="*/ 2878240 h 3528490"/>
                  <a:gd name="connsiteX15" fmla="*/ 673375 w 2849239"/>
                  <a:gd name="connsiteY15" fmla="*/ 2062131 h 3528490"/>
                  <a:gd name="connsiteX16" fmla="*/ 0 w 2849239"/>
                  <a:gd name="connsiteY16" fmla="*/ 1845731 h 3528490"/>
                  <a:gd name="connsiteX17" fmla="*/ 673375 w 2849239"/>
                  <a:gd name="connsiteY17" fmla="*/ 1412932 h 3528490"/>
                  <a:gd name="connsiteX18" fmla="*/ 674920 w 2849239"/>
                  <a:gd name="connsiteY18" fmla="*/ 717940 h 3528490"/>
                  <a:gd name="connsiteX19" fmla="*/ 676737 w 2849239"/>
                  <a:gd name="connsiteY19" fmla="*/ 705886 h 3528490"/>
                  <a:gd name="connsiteX20" fmla="*/ 674920 w 2849239"/>
                  <a:gd name="connsiteY20" fmla="*/ 717940 h 352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49239" h="3528490">
                    <a:moveTo>
                      <a:pt x="674920" y="717940"/>
                    </a:moveTo>
                    <a:lnTo>
                      <a:pt x="1467033" y="717940"/>
                    </a:lnTo>
                    <a:cubicBezTo>
                      <a:pt x="1568283" y="632383"/>
                      <a:pt x="1096567" y="35191"/>
                      <a:pt x="1755072" y="0"/>
                    </a:cubicBezTo>
                    <a:cubicBezTo>
                      <a:pt x="2343806" y="80045"/>
                      <a:pt x="1951844" y="516202"/>
                      <a:pt x="2057131" y="726242"/>
                    </a:cubicBezTo>
                    <a:lnTo>
                      <a:pt x="2835220" y="717940"/>
                    </a:lnTo>
                    <a:lnTo>
                      <a:pt x="2849239" y="1438040"/>
                    </a:lnTo>
                    <a:lnTo>
                      <a:pt x="2849239" y="1510050"/>
                    </a:lnTo>
                    <a:cubicBezTo>
                      <a:pt x="2742033" y="1702066"/>
                      <a:pt x="2230471" y="1141974"/>
                      <a:pt x="2187128" y="1798090"/>
                    </a:cubicBezTo>
                    <a:cubicBezTo>
                      <a:pt x="2244452" y="2422296"/>
                      <a:pt x="2690234" y="2001165"/>
                      <a:pt x="2849239" y="2086130"/>
                    </a:cubicBezTo>
                    <a:cubicBezTo>
                      <a:pt x="2848987" y="2381300"/>
                      <a:pt x="2841176" y="2590200"/>
                      <a:pt x="2837145" y="2878240"/>
                    </a:cubicBezTo>
                    <a:cubicBezTo>
                      <a:pt x="2837144" y="2870497"/>
                      <a:pt x="2849239" y="2052696"/>
                      <a:pt x="2835220" y="2878240"/>
                    </a:cubicBezTo>
                    <a:lnTo>
                      <a:pt x="2043108" y="2878240"/>
                    </a:lnTo>
                    <a:cubicBezTo>
                      <a:pt x="1942661" y="2878240"/>
                      <a:pt x="2371865" y="3528490"/>
                      <a:pt x="1755068" y="3526330"/>
                    </a:cubicBezTo>
                    <a:cubicBezTo>
                      <a:pt x="1133428" y="3526330"/>
                      <a:pt x="1558608" y="2880790"/>
                      <a:pt x="1467028" y="2880790"/>
                    </a:cubicBezTo>
                    <a:lnTo>
                      <a:pt x="674920" y="2878240"/>
                    </a:lnTo>
                    <a:cubicBezTo>
                      <a:pt x="675526" y="2607347"/>
                      <a:pt x="672769" y="2333024"/>
                      <a:pt x="673375" y="2062131"/>
                    </a:cubicBezTo>
                    <a:cubicBezTo>
                      <a:pt x="671822" y="1869435"/>
                      <a:pt x="31662" y="2551233"/>
                      <a:pt x="0" y="1845731"/>
                    </a:cubicBezTo>
                    <a:cubicBezTo>
                      <a:pt x="9394" y="937988"/>
                      <a:pt x="558276" y="1730268"/>
                      <a:pt x="673375" y="1412932"/>
                    </a:cubicBezTo>
                    <a:cubicBezTo>
                      <a:pt x="673072" y="1188329"/>
                      <a:pt x="673992" y="836017"/>
                      <a:pt x="674920" y="717940"/>
                    </a:cubicBezTo>
                    <a:cubicBezTo>
                      <a:pt x="674920" y="491328"/>
                      <a:pt x="676359" y="708397"/>
                      <a:pt x="676737" y="705886"/>
                    </a:cubicBezTo>
                    <a:lnTo>
                      <a:pt x="674920" y="717940"/>
                    </a:lnTo>
                    <a:close/>
                  </a:path>
                </a:pathLst>
              </a:custGeom>
              <a:solidFill>
                <a:schemeClr val="accent4"/>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900" dirty="0"/>
              </a:p>
            </p:txBody>
          </p:sp>
          <p:sp>
            <p:nvSpPr>
              <p:cNvPr id="93" name="Textfeld 92"/>
              <p:cNvSpPr txBox="1"/>
              <p:nvPr/>
            </p:nvSpPr>
            <p:spPr>
              <a:xfrm>
                <a:off x="2755279" y="3316551"/>
                <a:ext cx="963073" cy="650957"/>
              </a:xfrm>
              <a:prstGeom prst="rect">
                <a:avLst/>
              </a:prstGeom>
              <a:noFill/>
            </p:spPr>
            <p:txBody>
              <a:bodyPr wrap="square" lIns="0" tIns="0" rIns="0" bIns="0" rtlCol="0">
                <a:spAutoFit/>
              </a:bodyPr>
              <a:lstStyle/>
              <a:p>
                <a:pPr algn="ctr"/>
                <a:r>
                  <a:rPr lang="en-US" sz="900" dirty="0">
                    <a:solidFill>
                      <a:schemeClr val="bg1"/>
                    </a:solidFill>
                    <a:latin typeface="Arial" pitchFamily="34" charset="0"/>
                    <a:cs typeface="Arial" pitchFamily="34" charset="0"/>
                  </a:rPr>
                  <a:t>Planned/</a:t>
                </a:r>
                <a:br>
                  <a:rPr lang="en-US" sz="900" dirty="0">
                    <a:solidFill>
                      <a:schemeClr val="bg1"/>
                    </a:solidFill>
                    <a:latin typeface="Arial" pitchFamily="34" charset="0"/>
                    <a:cs typeface="Arial" pitchFamily="34" charset="0"/>
                  </a:rPr>
                </a:br>
                <a:r>
                  <a:rPr lang="en-US" sz="900" dirty="0">
                    <a:solidFill>
                      <a:schemeClr val="bg1"/>
                    </a:solidFill>
                    <a:latin typeface="Arial" pitchFamily="34" charset="0"/>
                    <a:cs typeface="Arial" pitchFamily="34" charset="0"/>
                  </a:rPr>
                  <a:t>Actual </a:t>
                </a:r>
                <a:br>
                  <a:rPr lang="en-US" sz="900" dirty="0">
                    <a:solidFill>
                      <a:schemeClr val="bg1"/>
                    </a:solidFill>
                    <a:latin typeface="Arial" pitchFamily="34" charset="0"/>
                    <a:cs typeface="Arial" pitchFamily="34" charset="0"/>
                  </a:rPr>
                </a:br>
                <a:r>
                  <a:rPr lang="en-US" sz="900" dirty="0">
                    <a:solidFill>
                      <a:schemeClr val="bg1"/>
                    </a:solidFill>
                    <a:latin typeface="Arial" pitchFamily="34" charset="0"/>
                    <a:cs typeface="Arial" pitchFamily="34" charset="0"/>
                  </a:rPr>
                  <a:t>comparison</a:t>
                </a:r>
                <a:br>
                  <a:rPr lang="en-US" sz="900" dirty="0">
                    <a:solidFill>
                      <a:schemeClr val="bg1"/>
                    </a:solidFill>
                    <a:latin typeface="Arial" pitchFamily="34" charset="0"/>
                    <a:cs typeface="Arial" pitchFamily="34" charset="0"/>
                  </a:rPr>
                </a:br>
                <a:r>
                  <a:rPr lang="en-US" sz="900" dirty="0">
                    <a:solidFill>
                      <a:schemeClr val="bg1"/>
                    </a:solidFill>
                    <a:latin typeface="Arial" pitchFamily="34" charset="0"/>
                    <a:cs typeface="Arial" pitchFamily="34" charset="0"/>
                  </a:rPr>
                  <a:t>adherence to budget(c)</a:t>
                </a:r>
              </a:p>
            </p:txBody>
          </p:sp>
          <p:sp>
            <p:nvSpPr>
              <p:cNvPr id="112" name="Textfeld 17"/>
              <p:cNvSpPr txBox="1"/>
              <p:nvPr/>
            </p:nvSpPr>
            <p:spPr>
              <a:xfrm>
                <a:off x="3852546" y="4162255"/>
                <a:ext cx="1404047" cy="477368"/>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omparison</a:t>
                </a:r>
              </a:p>
              <a:p>
                <a:pPr algn="ctr"/>
                <a:r>
                  <a:rPr lang="en-US" sz="900" dirty="0" smtClean="0">
                    <a:solidFill>
                      <a:schemeClr val="bg1"/>
                    </a:solidFill>
                    <a:latin typeface="Arial" pitchFamily="34" charset="0"/>
                    <a:cs typeface="Arial" pitchFamily="34" charset="0"/>
                  </a:rPr>
                  <a:t>with </a:t>
                </a:r>
              </a:p>
              <a:p>
                <a:pPr algn="ctr"/>
                <a:r>
                  <a:rPr lang="en-US" sz="900" dirty="0" smtClean="0">
                    <a:solidFill>
                      <a:schemeClr val="bg1"/>
                    </a:solidFill>
                    <a:latin typeface="Arial" pitchFamily="34" charset="0"/>
                    <a:cs typeface="Arial" pitchFamily="34" charset="0"/>
                  </a:rPr>
                  <a:t>peers</a:t>
                </a:r>
                <a:endParaRPr lang="en-US" sz="900" dirty="0">
                  <a:solidFill>
                    <a:schemeClr val="bg1"/>
                  </a:solidFill>
                  <a:latin typeface="Arial" pitchFamily="34" charset="0"/>
                  <a:cs typeface="Arial" pitchFamily="34" charset="0"/>
                </a:endParaRPr>
              </a:p>
            </p:txBody>
          </p:sp>
        </p:grpSp>
        <p:sp>
          <p:nvSpPr>
            <p:cNvPr id="126" name="Rechteck 75"/>
            <p:cNvSpPr/>
            <p:nvPr/>
          </p:nvSpPr>
          <p:spPr>
            <a:xfrm>
              <a:off x="992960" y="4940709"/>
              <a:ext cx="7200000" cy="581176"/>
            </a:xfrm>
            <a:custGeom>
              <a:avLst/>
              <a:gdLst>
                <a:gd name="connsiteX0" fmla="*/ 0 w 6769099"/>
                <a:gd name="connsiteY0" fmla="*/ 0 h 360000"/>
                <a:gd name="connsiteX1" fmla="*/ 6769099 w 6769099"/>
                <a:gd name="connsiteY1" fmla="*/ 0 h 360000"/>
                <a:gd name="connsiteX2" fmla="*/ 6769099 w 6769099"/>
                <a:gd name="connsiteY2" fmla="*/ 360000 h 360000"/>
                <a:gd name="connsiteX3" fmla="*/ 0 w 6769099"/>
                <a:gd name="connsiteY3" fmla="*/ 360000 h 360000"/>
                <a:gd name="connsiteX4" fmla="*/ 0 w 6769099"/>
                <a:gd name="connsiteY4"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794 w 6769893"/>
                <a:gd name="connsiteY5" fmla="*/ 0 h 360000"/>
                <a:gd name="connsiteX0" fmla="*/ 1127919 w 7897018"/>
                <a:gd name="connsiteY0" fmla="*/ 0 h 360000"/>
                <a:gd name="connsiteX1" fmla="*/ 7897018 w 7897018"/>
                <a:gd name="connsiteY1" fmla="*/ 0 h 360000"/>
                <a:gd name="connsiteX2" fmla="*/ 7897018 w 7897018"/>
                <a:gd name="connsiteY2" fmla="*/ 360000 h 360000"/>
                <a:gd name="connsiteX3" fmla="*/ 1127919 w 7897018"/>
                <a:gd name="connsiteY3" fmla="*/ 360000 h 360000"/>
                <a:gd name="connsiteX4" fmla="*/ 1127125 w 7897018"/>
                <a:gd name="connsiteY4" fmla="*/ 257359 h 360000"/>
                <a:gd name="connsiteX5" fmla="*/ 1129506 w 7897018"/>
                <a:gd name="connsiteY5" fmla="*/ 97815 h 360000"/>
                <a:gd name="connsiteX6" fmla="*/ 1127919 w 7897018"/>
                <a:gd name="connsiteY6" fmla="*/ 0 h 360000"/>
                <a:gd name="connsiteX0" fmla="*/ 794 w 6769893"/>
                <a:gd name="connsiteY0" fmla="*/ 0 h 360000"/>
                <a:gd name="connsiteX1" fmla="*/ 6769893 w 6769893"/>
                <a:gd name="connsiteY1" fmla="*/ 0 h 360000"/>
                <a:gd name="connsiteX2" fmla="*/ 6769893 w 6769893"/>
                <a:gd name="connsiteY2" fmla="*/ 360000 h 360000"/>
                <a:gd name="connsiteX3" fmla="*/ 794 w 6769893"/>
                <a:gd name="connsiteY3" fmla="*/ 360000 h 360000"/>
                <a:gd name="connsiteX4" fmla="*/ 0 w 6769893"/>
                <a:gd name="connsiteY4" fmla="*/ 257359 h 360000"/>
                <a:gd name="connsiteX5" fmla="*/ 2381 w 6769893"/>
                <a:gd name="connsiteY5" fmla="*/ 97815 h 360000"/>
                <a:gd name="connsiteX6" fmla="*/ 794 w 6769893"/>
                <a:gd name="connsiteY6" fmla="*/ 0 h 360000"/>
                <a:gd name="connsiteX0" fmla="*/ 1191 w 6770290"/>
                <a:gd name="connsiteY0" fmla="*/ 0 h 360000"/>
                <a:gd name="connsiteX1" fmla="*/ 6770290 w 6770290"/>
                <a:gd name="connsiteY1" fmla="*/ 0 h 360000"/>
                <a:gd name="connsiteX2" fmla="*/ 6770290 w 6770290"/>
                <a:gd name="connsiteY2" fmla="*/ 360000 h 360000"/>
                <a:gd name="connsiteX3" fmla="*/ 1191 w 6770290"/>
                <a:gd name="connsiteY3" fmla="*/ 360000 h 360000"/>
                <a:gd name="connsiteX4" fmla="*/ 397 w 6770290"/>
                <a:gd name="connsiteY4" fmla="*/ 257359 h 360000"/>
                <a:gd name="connsiteX5" fmla="*/ 397 w 6770290"/>
                <a:gd name="connsiteY5" fmla="*/ 176396 h 360000"/>
                <a:gd name="connsiteX6" fmla="*/ 2778 w 6770290"/>
                <a:gd name="connsiteY6" fmla="*/ 97815 h 360000"/>
                <a:gd name="connsiteX7" fmla="*/ 1191 w 6770290"/>
                <a:gd name="connsiteY7" fmla="*/ 0 h 360000"/>
                <a:gd name="connsiteX0" fmla="*/ 360710 w 7129809"/>
                <a:gd name="connsiteY0" fmla="*/ 0 h 360000"/>
                <a:gd name="connsiteX1" fmla="*/ 7129809 w 7129809"/>
                <a:gd name="connsiteY1" fmla="*/ 0 h 360000"/>
                <a:gd name="connsiteX2" fmla="*/ 7129809 w 7129809"/>
                <a:gd name="connsiteY2" fmla="*/ 360000 h 360000"/>
                <a:gd name="connsiteX3" fmla="*/ 360710 w 7129809"/>
                <a:gd name="connsiteY3" fmla="*/ 360000 h 360000"/>
                <a:gd name="connsiteX4" fmla="*/ 359916 w 7129809"/>
                <a:gd name="connsiteY4" fmla="*/ 257359 h 360000"/>
                <a:gd name="connsiteX5" fmla="*/ 397 w 7129809"/>
                <a:gd name="connsiteY5" fmla="*/ 143976 h 360000"/>
                <a:gd name="connsiteX6" fmla="*/ 362297 w 7129809"/>
                <a:gd name="connsiteY6" fmla="*/ 97815 h 360000"/>
                <a:gd name="connsiteX7" fmla="*/ 360710 w 7129809"/>
                <a:gd name="connsiteY7" fmla="*/ 0 h 360000"/>
                <a:gd name="connsiteX0" fmla="*/ 375047 w 7144146"/>
                <a:gd name="connsiteY0" fmla="*/ 0 h 474450"/>
                <a:gd name="connsiteX1" fmla="*/ 7144146 w 7144146"/>
                <a:gd name="connsiteY1" fmla="*/ 0 h 474450"/>
                <a:gd name="connsiteX2" fmla="*/ 7144146 w 7144146"/>
                <a:gd name="connsiteY2" fmla="*/ 360000 h 474450"/>
                <a:gd name="connsiteX3" fmla="*/ 375047 w 7144146"/>
                <a:gd name="connsiteY3" fmla="*/ 360000 h 474450"/>
                <a:gd name="connsiteX4" fmla="*/ 374253 w 7144146"/>
                <a:gd name="connsiteY4" fmla="*/ 257359 h 474450"/>
                <a:gd name="connsiteX5" fmla="*/ 14734 w 7144146"/>
                <a:gd name="connsiteY5" fmla="*/ 143976 h 474450"/>
                <a:gd name="connsiteX6" fmla="*/ 376634 w 7144146"/>
                <a:gd name="connsiteY6" fmla="*/ 97815 h 474450"/>
                <a:gd name="connsiteX7" fmla="*/ 375047 w 7144146"/>
                <a:gd name="connsiteY7" fmla="*/ 0 h 474450"/>
                <a:gd name="connsiteX0" fmla="*/ 376635 w 7145734"/>
                <a:gd name="connsiteY0" fmla="*/ 152614 h 627064"/>
                <a:gd name="connsiteX1" fmla="*/ 7145734 w 7145734"/>
                <a:gd name="connsiteY1" fmla="*/ 152614 h 627064"/>
                <a:gd name="connsiteX2" fmla="*/ 7145734 w 7145734"/>
                <a:gd name="connsiteY2" fmla="*/ 512614 h 627064"/>
                <a:gd name="connsiteX3" fmla="*/ 376635 w 7145734"/>
                <a:gd name="connsiteY3" fmla="*/ 512614 h 627064"/>
                <a:gd name="connsiteX4" fmla="*/ 375841 w 7145734"/>
                <a:gd name="connsiteY4" fmla="*/ 409973 h 627064"/>
                <a:gd name="connsiteX5" fmla="*/ 16322 w 7145734"/>
                <a:gd name="connsiteY5" fmla="*/ 296590 h 627064"/>
                <a:gd name="connsiteX6" fmla="*/ 378222 w 7145734"/>
                <a:gd name="connsiteY6" fmla="*/ 250429 h 627064"/>
                <a:gd name="connsiteX7" fmla="*/ 376635 w 7145734"/>
                <a:gd name="connsiteY7" fmla="*/ 152614 h 627064"/>
                <a:gd name="connsiteX0" fmla="*/ 401291 w 7170390"/>
                <a:gd name="connsiteY0" fmla="*/ 152614 h 597100"/>
                <a:gd name="connsiteX1" fmla="*/ 7170390 w 7170390"/>
                <a:gd name="connsiteY1" fmla="*/ 152614 h 597100"/>
                <a:gd name="connsiteX2" fmla="*/ 7170390 w 7170390"/>
                <a:gd name="connsiteY2" fmla="*/ 512614 h 597100"/>
                <a:gd name="connsiteX3" fmla="*/ 401291 w 7170390"/>
                <a:gd name="connsiteY3" fmla="*/ 512614 h 597100"/>
                <a:gd name="connsiteX4" fmla="*/ 400497 w 7170390"/>
                <a:gd name="connsiteY4" fmla="*/ 409973 h 597100"/>
                <a:gd name="connsiteX5" fmla="*/ 40978 w 7170390"/>
                <a:gd name="connsiteY5" fmla="*/ 296590 h 597100"/>
                <a:gd name="connsiteX6" fmla="*/ 402878 w 7170390"/>
                <a:gd name="connsiteY6" fmla="*/ 250429 h 597100"/>
                <a:gd name="connsiteX7" fmla="*/ 401291 w 7170390"/>
                <a:gd name="connsiteY7" fmla="*/ 152614 h 597100"/>
                <a:gd name="connsiteX0" fmla="*/ 401291 w 7170390"/>
                <a:gd name="connsiteY0" fmla="*/ 156012 h 600498"/>
                <a:gd name="connsiteX1" fmla="*/ 7170390 w 7170390"/>
                <a:gd name="connsiteY1" fmla="*/ 156012 h 600498"/>
                <a:gd name="connsiteX2" fmla="*/ 7170390 w 7170390"/>
                <a:gd name="connsiteY2" fmla="*/ 516012 h 600498"/>
                <a:gd name="connsiteX3" fmla="*/ 401291 w 7170390"/>
                <a:gd name="connsiteY3" fmla="*/ 516012 h 600498"/>
                <a:gd name="connsiteX4" fmla="*/ 400497 w 7170390"/>
                <a:gd name="connsiteY4" fmla="*/ 413371 h 600498"/>
                <a:gd name="connsiteX5" fmla="*/ 40978 w 7170390"/>
                <a:gd name="connsiteY5" fmla="*/ 299988 h 600498"/>
                <a:gd name="connsiteX6" fmla="*/ 402878 w 7170390"/>
                <a:gd name="connsiteY6" fmla="*/ 253827 h 600498"/>
                <a:gd name="connsiteX7" fmla="*/ 401291 w 7170390"/>
                <a:gd name="connsiteY7" fmla="*/ 156012 h 600498"/>
                <a:gd name="connsiteX0" fmla="*/ 360313 w 7129412"/>
                <a:gd name="connsiteY0" fmla="*/ 156012 h 644924"/>
                <a:gd name="connsiteX1" fmla="*/ 7129412 w 7129412"/>
                <a:gd name="connsiteY1" fmla="*/ 156012 h 644924"/>
                <a:gd name="connsiteX2" fmla="*/ 7129412 w 7129412"/>
                <a:gd name="connsiteY2" fmla="*/ 516012 h 644924"/>
                <a:gd name="connsiteX3" fmla="*/ 360313 w 7129412"/>
                <a:gd name="connsiteY3" fmla="*/ 516012 h 644924"/>
                <a:gd name="connsiteX4" fmla="*/ 359519 w 7129412"/>
                <a:gd name="connsiteY4" fmla="*/ 413371 h 644924"/>
                <a:gd name="connsiteX5" fmla="*/ 0 w 7129412"/>
                <a:gd name="connsiteY5" fmla="*/ 299988 h 644924"/>
                <a:gd name="connsiteX6" fmla="*/ 361900 w 7129412"/>
                <a:gd name="connsiteY6" fmla="*/ 253827 h 644924"/>
                <a:gd name="connsiteX7" fmla="*/ 360313 w 7129412"/>
                <a:gd name="connsiteY7" fmla="*/ 156012 h 644924"/>
                <a:gd name="connsiteX0" fmla="*/ 360313 w 7129412"/>
                <a:gd name="connsiteY0" fmla="*/ 156012 h 636392"/>
                <a:gd name="connsiteX1" fmla="*/ 7129412 w 7129412"/>
                <a:gd name="connsiteY1" fmla="*/ 156012 h 636392"/>
                <a:gd name="connsiteX2" fmla="*/ 7129412 w 7129412"/>
                <a:gd name="connsiteY2" fmla="*/ 516012 h 636392"/>
                <a:gd name="connsiteX3" fmla="*/ 360313 w 7129412"/>
                <a:gd name="connsiteY3" fmla="*/ 516012 h 636392"/>
                <a:gd name="connsiteX4" fmla="*/ 359519 w 7129412"/>
                <a:gd name="connsiteY4" fmla="*/ 413371 h 636392"/>
                <a:gd name="connsiteX5" fmla="*/ 0 w 7129412"/>
                <a:gd name="connsiteY5" fmla="*/ 299988 h 636392"/>
                <a:gd name="connsiteX6" fmla="*/ 361900 w 7129412"/>
                <a:gd name="connsiteY6" fmla="*/ 253827 h 636392"/>
                <a:gd name="connsiteX7" fmla="*/ 360313 w 7129412"/>
                <a:gd name="connsiteY7" fmla="*/ 156012 h 636392"/>
                <a:gd name="connsiteX0" fmla="*/ 360313 w 7131490"/>
                <a:gd name="connsiteY0" fmla="*/ 156012 h 636392"/>
                <a:gd name="connsiteX1" fmla="*/ 7129412 w 7131490"/>
                <a:gd name="connsiteY1" fmla="*/ 156012 h 636392"/>
                <a:gd name="connsiteX2" fmla="*/ 7131490 w 7131490"/>
                <a:gd name="connsiteY2" fmla="*/ 319086 h 636392"/>
                <a:gd name="connsiteX3" fmla="*/ 7129412 w 7131490"/>
                <a:gd name="connsiteY3" fmla="*/ 516012 h 636392"/>
                <a:gd name="connsiteX4" fmla="*/ 360313 w 7131490"/>
                <a:gd name="connsiteY4" fmla="*/ 516012 h 636392"/>
                <a:gd name="connsiteX5" fmla="*/ 359519 w 7131490"/>
                <a:gd name="connsiteY5" fmla="*/ 413371 h 636392"/>
                <a:gd name="connsiteX6" fmla="*/ 0 w 7131490"/>
                <a:gd name="connsiteY6" fmla="*/ 299988 h 636392"/>
                <a:gd name="connsiteX7" fmla="*/ 361900 w 7131490"/>
                <a:gd name="connsiteY7" fmla="*/ 253827 h 636392"/>
                <a:gd name="connsiteX8" fmla="*/ 360313 w 7131490"/>
                <a:gd name="connsiteY8" fmla="*/ 156012 h 636392"/>
                <a:gd name="connsiteX0" fmla="*/ 360313 w 8257941"/>
                <a:gd name="connsiteY0" fmla="*/ 156012 h 636392"/>
                <a:gd name="connsiteX1" fmla="*/ 7129412 w 8257941"/>
                <a:gd name="connsiteY1" fmla="*/ 156012 h 636392"/>
                <a:gd name="connsiteX2" fmla="*/ 7131490 w 8257941"/>
                <a:gd name="connsiteY2" fmla="*/ 219074 h 636392"/>
                <a:gd name="connsiteX3" fmla="*/ 7131490 w 8257941"/>
                <a:gd name="connsiteY3" fmla="*/ 319086 h 636392"/>
                <a:gd name="connsiteX4" fmla="*/ 7129412 w 8257941"/>
                <a:gd name="connsiteY4" fmla="*/ 516012 h 636392"/>
                <a:gd name="connsiteX5" fmla="*/ 360313 w 8257941"/>
                <a:gd name="connsiteY5" fmla="*/ 516012 h 636392"/>
                <a:gd name="connsiteX6" fmla="*/ 359519 w 8257941"/>
                <a:gd name="connsiteY6" fmla="*/ 413371 h 636392"/>
                <a:gd name="connsiteX7" fmla="*/ 0 w 8257941"/>
                <a:gd name="connsiteY7" fmla="*/ 299988 h 636392"/>
                <a:gd name="connsiteX8" fmla="*/ 361900 w 8257941"/>
                <a:gd name="connsiteY8" fmla="*/ 253827 h 636392"/>
                <a:gd name="connsiteX9" fmla="*/ 360313 w 8257941"/>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9412 w 7131836"/>
                <a:gd name="connsiteY4" fmla="*/ 516012 h 636392"/>
                <a:gd name="connsiteX5" fmla="*/ 360313 w 7131836"/>
                <a:gd name="connsiteY5" fmla="*/ 516012 h 636392"/>
                <a:gd name="connsiteX6" fmla="*/ 359519 w 7131836"/>
                <a:gd name="connsiteY6" fmla="*/ 413371 h 636392"/>
                <a:gd name="connsiteX7" fmla="*/ 0 w 7131836"/>
                <a:gd name="connsiteY7" fmla="*/ 299988 h 636392"/>
                <a:gd name="connsiteX8" fmla="*/ 361900 w 7131836"/>
                <a:gd name="connsiteY8" fmla="*/ 253827 h 636392"/>
                <a:gd name="connsiteX9" fmla="*/ 360313 w 7131836"/>
                <a:gd name="connsiteY9" fmla="*/ 156012 h 636392"/>
                <a:gd name="connsiteX0" fmla="*/ 360313 w 8257078"/>
                <a:gd name="connsiteY0" fmla="*/ 156012 h 636392"/>
                <a:gd name="connsiteX1" fmla="*/ 7129412 w 8257078"/>
                <a:gd name="connsiteY1" fmla="*/ 156012 h 636392"/>
                <a:gd name="connsiteX2" fmla="*/ 7131490 w 8257078"/>
                <a:gd name="connsiteY2" fmla="*/ 219074 h 636392"/>
                <a:gd name="connsiteX3" fmla="*/ 7131490 w 8257078"/>
                <a:gd name="connsiteY3" fmla="*/ 319086 h 636392"/>
                <a:gd name="connsiteX4" fmla="*/ 7126308 w 8257078"/>
                <a:gd name="connsiteY4" fmla="*/ 423861 h 636392"/>
                <a:gd name="connsiteX5" fmla="*/ 7129412 w 8257078"/>
                <a:gd name="connsiteY5" fmla="*/ 516012 h 636392"/>
                <a:gd name="connsiteX6" fmla="*/ 360313 w 8257078"/>
                <a:gd name="connsiteY6" fmla="*/ 516012 h 636392"/>
                <a:gd name="connsiteX7" fmla="*/ 359519 w 8257078"/>
                <a:gd name="connsiteY7" fmla="*/ 413371 h 636392"/>
                <a:gd name="connsiteX8" fmla="*/ 0 w 8257078"/>
                <a:gd name="connsiteY8" fmla="*/ 299988 h 636392"/>
                <a:gd name="connsiteX9" fmla="*/ 361900 w 8257078"/>
                <a:gd name="connsiteY9" fmla="*/ 253827 h 636392"/>
                <a:gd name="connsiteX10" fmla="*/ 360313 w 8257078"/>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7131490 w 7131836"/>
                <a:gd name="connsiteY3" fmla="*/ 319086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277141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56012 h 687585"/>
                <a:gd name="connsiteX1" fmla="*/ 7129412 w 7131836"/>
                <a:gd name="connsiteY1" fmla="*/ 156012 h 687585"/>
                <a:gd name="connsiteX2" fmla="*/ 7131490 w 7131836"/>
                <a:gd name="connsiteY2" fmla="*/ 219074 h 687585"/>
                <a:gd name="connsiteX3" fmla="*/ 6679558 w 7131836"/>
                <a:gd name="connsiteY3" fmla="*/ 349149 h 687585"/>
                <a:gd name="connsiteX4" fmla="*/ 7126308 w 7131836"/>
                <a:gd name="connsiteY4" fmla="*/ 423861 h 687585"/>
                <a:gd name="connsiteX5" fmla="*/ 7129412 w 7131836"/>
                <a:gd name="connsiteY5" fmla="*/ 516012 h 687585"/>
                <a:gd name="connsiteX6" fmla="*/ 360313 w 7131836"/>
                <a:gd name="connsiteY6" fmla="*/ 516012 h 687585"/>
                <a:gd name="connsiteX7" fmla="*/ 359519 w 7131836"/>
                <a:gd name="connsiteY7" fmla="*/ 413371 h 687585"/>
                <a:gd name="connsiteX8" fmla="*/ 0 w 7131836"/>
                <a:gd name="connsiteY8" fmla="*/ 299988 h 687585"/>
                <a:gd name="connsiteX9" fmla="*/ 361900 w 7131836"/>
                <a:gd name="connsiteY9" fmla="*/ 253827 h 687585"/>
                <a:gd name="connsiteX10" fmla="*/ 360313 w 7131836"/>
                <a:gd name="connsiteY10" fmla="*/ 156012 h 687585"/>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649907"/>
                <a:gd name="connsiteX1" fmla="*/ 7129412 w 7131836"/>
                <a:gd name="connsiteY1" fmla="*/ 156012 h 649907"/>
                <a:gd name="connsiteX2" fmla="*/ 7131490 w 7131836"/>
                <a:gd name="connsiteY2" fmla="*/ 219074 h 649907"/>
                <a:gd name="connsiteX3" fmla="*/ 6679558 w 7131836"/>
                <a:gd name="connsiteY3" fmla="*/ 349149 h 649907"/>
                <a:gd name="connsiteX4" fmla="*/ 7126308 w 7131836"/>
                <a:gd name="connsiteY4" fmla="*/ 423861 h 649907"/>
                <a:gd name="connsiteX5" fmla="*/ 7129412 w 7131836"/>
                <a:gd name="connsiteY5" fmla="*/ 516012 h 649907"/>
                <a:gd name="connsiteX6" fmla="*/ 360313 w 7131836"/>
                <a:gd name="connsiteY6" fmla="*/ 516012 h 649907"/>
                <a:gd name="connsiteX7" fmla="*/ 359519 w 7131836"/>
                <a:gd name="connsiteY7" fmla="*/ 413371 h 649907"/>
                <a:gd name="connsiteX8" fmla="*/ 0 w 7131836"/>
                <a:gd name="connsiteY8" fmla="*/ 299988 h 649907"/>
                <a:gd name="connsiteX9" fmla="*/ 361900 w 7131836"/>
                <a:gd name="connsiteY9" fmla="*/ 253827 h 649907"/>
                <a:gd name="connsiteX10" fmla="*/ 360313 w 7131836"/>
                <a:gd name="connsiteY10" fmla="*/ 156012 h 649907"/>
                <a:gd name="connsiteX0" fmla="*/ 360313 w 7131836"/>
                <a:gd name="connsiteY0" fmla="*/ 156012 h 731862"/>
                <a:gd name="connsiteX1" fmla="*/ 7129412 w 7131836"/>
                <a:gd name="connsiteY1" fmla="*/ 156012 h 731862"/>
                <a:gd name="connsiteX2" fmla="*/ 7131490 w 7131836"/>
                <a:gd name="connsiteY2" fmla="*/ 219074 h 731862"/>
                <a:gd name="connsiteX3" fmla="*/ 6679558 w 7131836"/>
                <a:gd name="connsiteY3" fmla="*/ 349149 h 731862"/>
                <a:gd name="connsiteX4" fmla="*/ 7126308 w 7131836"/>
                <a:gd name="connsiteY4" fmla="*/ 423861 h 731862"/>
                <a:gd name="connsiteX5" fmla="*/ 7129412 w 7131836"/>
                <a:gd name="connsiteY5" fmla="*/ 516012 h 731862"/>
                <a:gd name="connsiteX6" fmla="*/ 360313 w 7131836"/>
                <a:gd name="connsiteY6" fmla="*/ 516012 h 731862"/>
                <a:gd name="connsiteX7" fmla="*/ 359519 w 7131836"/>
                <a:gd name="connsiteY7" fmla="*/ 413371 h 731862"/>
                <a:gd name="connsiteX8" fmla="*/ 0 w 7131836"/>
                <a:gd name="connsiteY8" fmla="*/ 299988 h 731862"/>
                <a:gd name="connsiteX9" fmla="*/ 361900 w 7131836"/>
                <a:gd name="connsiteY9" fmla="*/ 253827 h 731862"/>
                <a:gd name="connsiteX10" fmla="*/ 360313 w 7131836"/>
                <a:gd name="connsiteY10" fmla="*/ 156012 h 731862"/>
                <a:gd name="connsiteX0" fmla="*/ 360313 w 7131836"/>
                <a:gd name="connsiteY0" fmla="*/ 156012 h 684659"/>
                <a:gd name="connsiteX1" fmla="*/ 7129412 w 7131836"/>
                <a:gd name="connsiteY1" fmla="*/ 156012 h 684659"/>
                <a:gd name="connsiteX2" fmla="*/ 7131490 w 7131836"/>
                <a:gd name="connsiteY2" fmla="*/ 219074 h 684659"/>
                <a:gd name="connsiteX3" fmla="*/ 6679558 w 7131836"/>
                <a:gd name="connsiteY3" fmla="*/ 349149 h 684659"/>
                <a:gd name="connsiteX4" fmla="*/ 7126308 w 7131836"/>
                <a:gd name="connsiteY4" fmla="*/ 423861 h 684659"/>
                <a:gd name="connsiteX5" fmla="*/ 7129412 w 7131836"/>
                <a:gd name="connsiteY5" fmla="*/ 516012 h 684659"/>
                <a:gd name="connsiteX6" fmla="*/ 360313 w 7131836"/>
                <a:gd name="connsiteY6" fmla="*/ 516012 h 684659"/>
                <a:gd name="connsiteX7" fmla="*/ 359519 w 7131836"/>
                <a:gd name="connsiteY7" fmla="*/ 413371 h 684659"/>
                <a:gd name="connsiteX8" fmla="*/ 0 w 7131836"/>
                <a:gd name="connsiteY8" fmla="*/ 299988 h 684659"/>
                <a:gd name="connsiteX9" fmla="*/ 361900 w 7131836"/>
                <a:gd name="connsiteY9" fmla="*/ 253827 h 684659"/>
                <a:gd name="connsiteX10" fmla="*/ 360313 w 7131836"/>
                <a:gd name="connsiteY10" fmla="*/ 156012 h 684659"/>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836"/>
                <a:gd name="connsiteY0" fmla="*/ 170801 h 651181"/>
                <a:gd name="connsiteX1" fmla="*/ 7129412 w 7131836"/>
                <a:gd name="connsiteY1" fmla="*/ 170801 h 651181"/>
                <a:gd name="connsiteX2" fmla="*/ 7131490 w 7131836"/>
                <a:gd name="connsiteY2" fmla="*/ 233863 h 651181"/>
                <a:gd name="connsiteX3" fmla="*/ 6679558 w 7131836"/>
                <a:gd name="connsiteY3" fmla="*/ 363938 h 651181"/>
                <a:gd name="connsiteX4" fmla="*/ 7126308 w 7131836"/>
                <a:gd name="connsiteY4" fmla="*/ 438650 h 651181"/>
                <a:gd name="connsiteX5" fmla="*/ 7129412 w 7131836"/>
                <a:gd name="connsiteY5" fmla="*/ 530801 h 651181"/>
                <a:gd name="connsiteX6" fmla="*/ 360313 w 7131836"/>
                <a:gd name="connsiteY6" fmla="*/ 530801 h 651181"/>
                <a:gd name="connsiteX7" fmla="*/ 359519 w 7131836"/>
                <a:gd name="connsiteY7" fmla="*/ 428160 h 651181"/>
                <a:gd name="connsiteX8" fmla="*/ 0 w 7131836"/>
                <a:gd name="connsiteY8" fmla="*/ 314777 h 651181"/>
                <a:gd name="connsiteX9" fmla="*/ 361900 w 7131836"/>
                <a:gd name="connsiteY9" fmla="*/ 268616 h 651181"/>
                <a:gd name="connsiteX10" fmla="*/ 360313 w 7131836"/>
                <a:gd name="connsiteY10" fmla="*/ 170801 h 651181"/>
                <a:gd name="connsiteX0" fmla="*/ 360313 w 7131836"/>
                <a:gd name="connsiteY0" fmla="*/ 156012 h 636392"/>
                <a:gd name="connsiteX1" fmla="*/ 7129412 w 7131836"/>
                <a:gd name="connsiteY1" fmla="*/ 156012 h 636392"/>
                <a:gd name="connsiteX2" fmla="*/ 7131490 w 7131836"/>
                <a:gd name="connsiteY2" fmla="*/ 219074 h 636392"/>
                <a:gd name="connsiteX3" fmla="*/ 6679558 w 7131836"/>
                <a:gd name="connsiteY3" fmla="*/ 349149 h 636392"/>
                <a:gd name="connsiteX4" fmla="*/ 7126308 w 7131836"/>
                <a:gd name="connsiteY4" fmla="*/ 423861 h 636392"/>
                <a:gd name="connsiteX5" fmla="*/ 7129412 w 7131836"/>
                <a:gd name="connsiteY5" fmla="*/ 516012 h 636392"/>
                <a:gd name="connsiteX6" fmla="*/ 360313 w 7131836"/>
                <a:gd name="connsiteY6" fmla="*/ 516012 h 636392"/>
                <a:gd name="connsiteX7" fmla="*/ 359519 w 7131836"/>
                <a:gd name="connsiteY7" fmla="*/ 413371 h 636392"/>
                <a:gd name="connsiteX8" fmla="*/ 0 w 7131836"/>
                <a:gd name="connsiteY8" fmla="*/ 299988 h 636392"/>
                <a:gd name="connsiteX9" fmla="*/ 361900 w 7131836"/>
                <a:gd name="connsiteY9" fmla="*/ 253827 h 636392"/>
                <a:gd name="connsiteX10" fmla="*/ 360313 w 7131836"/>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679558 w 7131490"/>
                <a:gd name="connsiteY3" fmla="*/ 349149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73927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04321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360313 w 7131490"/>
                <a:gd name="connsiteY0" fmla="*/ 165742 h 646122"/>
                <a:gd name="connsiteX1" fmla="*/ 7129412 w 7131490"/>
                <a:gd name="connsiteY1" fmla="*/ 165742 h 646122"/>
                <a:gd name="connsiteX2" fmla="*/ 7131490 w 7131490"/>
                <a:gd name="connsiteY2" fmla="*/ 228804 h 646122"/>
                <a:gd name="connsiteX3" fmla="*/ 6869755 w 7131490"/>
                <a:gd name="connsiteY3" fmla="*/ 346610 h 646122"/>
                <a:gd name="connsiteX4" fmla="*/ 7126308 w 7131490"/>
                <a:gd name="connsiteY4" fmla="*/ 433591 h 646122"/>
                <a:gd name="connsiteX5" fmla="*/ 7129412 w 7131490"/>
                <a:gd name="connsiteY5" fmla="*/ 525742 h 646122"/>
                <a:gd name="connsiteX6" fmla="*/ 360313 w 7131490"/>
                <a:gd name="connsiteY6" fmla="*/ 525742 h 646122"/>
                <a:gd name="connsiteX7" fmla="*/ 359519 w 7131490"/>
                <a:gd name="connsiteY7" fmla="*/ 423101 h 646122"/>
                <a:gd name="connsiteX8" fmla="*/ 0 w 7131490"/>
                <a:gd name="connsiteY8" fmla="*/ 309718 h 646122"/>
                <a:gd name="connsiteX9" fmla="*/ 361900 w 7131490"/>
                <a:gd name="connsiteY9" fmla="*/ 263557 h 646122"/>
                <a:gd name="connsiteX10" fmla="*/ 360313 w 7131490"/>
                <a:gd name="connsiteY10" fmla="*/ 165742 h 646122"/>
                <a:gd name="connsiteX0" fmla="*/ 360313 w 7131490"/>
                <a:gd name="connsiteY0" fmla="*/ 156012 h 636392"/>
                <a:gd name="connsiteX1" fmla="*/ 7129412 w 7131490"/>
                <a:gd name="connsiteY1" fmla="*/ 156012 h 636392"/>
                <a:gd name="connsiteX2" fmla="*/ 7131490 w 7131490"/>
                <a:gd name="connsiteY2" fmla="*/ 219074 h 636392"/>
                <a:gd name="connsiteX3" fmla="*/ 6869755 w 7131490"/>
                <a:gd name="connsiteY3" fmla="*/ 336880 h 636392"/>
                <a:gd name="connsiteX4" fmla="*/ 7126308 w 7131490"/>
                <a:gd name="connsiteY4" fmla="*/ 423861 h 636392"/>
                <a:gd name="connsiteX5" fmla="*/ 7129412 w 7131490"/>
                <a:gd name="connsiteY5" fmla="*/ 516012 h 636392"/>
                <a:gd name="connsiteX6" fmla="*/ 360313 w 7131490"/>
                <a:gd name="connsiteY6" fmla="*/ 516012 h 636392"/>
                <a:gd name="connsiteX7" fmla="*/ 359519 w 7131490"/>
                <a:gd name="connsiteY7" fmla="*/ 413371 h 636392"/>
                <a:gd name="connsiteX8" fmla="*/ 0 w 7131490"/>
                <a:gd name="connsiteY8" fmla="*/ 299988 h 636392"/>
                <a:gd name="connsiteX9" fmla="*/ 361900 w 7131490"/>
                <a:gd name="connsiteY9" fmla="*/ 253827 h 636392"/>
                <a:gd name="connsiteX10" fmla="*/ 360313 w 7131490"/>
                <a:gd name="connsiteY10" fmla="*/ 156012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636392"/>
                <a:gd name="connsiteX1" fmla="*/ 7064771 w 7066849"/>
                <a:gd name="connsiteY1" fmla="*/ 119120 h 636392"/>
                <a:gd name="connsiteX2" fmla="*/ 7066849 w 7066849"/>
                <a:gd name="connsiteY2" fmla="*/ 182182 h 636392"/>
                <a:gd name="connsiteX3" fmla="*/ 6805114 w 7066849"/>
                <a:gd name="connsiteY3" fmla="*/ 299988 h 636392"/>
                <a:gd name="connsiteX4" fmla="*/ 7061667 w 7066849"/>
                <a:gd name="connsiteY4" fmla="*/ 386969 h 636392"/>
                <a:gd name="connsiteX5" fmla="*/ 7064771 w 7066849"/>
                <a:gd name="connsiteY5" fmla="*/ 479120 h 636392"/>
                <a:gd name="connsiteX6" fmla="*/ 295672 w 7066849"/>
                <a:gd name="connsiteY6" fmla="*/ 479120 h 636392"/>
                <a:gd name="connsiteX7" fmla="*/ 294878 w 7066849"/>
                <a:gd name="connsiteY7" fmla="*/ 376479 h 636392"/>
                <a:gd name="connsiteX8" fmla="*/ 0 w 7066849"/>
                <a:gd name="connsiteY8" fmla="*/ 299988 h 636392"/>
                <a:gd name="connsiteX9" fmla="*/ 297259 w 7066849"/>
                <a:gd name="connsiteY9" fmla="*/ 216935 h 636392"/>
                <a:gd name="connsiteX10" fmla="*/ 295672 w 7066849"/>
                <a:gd name="connsiteY10" fmla="*/ 119120 h 636392"/>
                <a:gd name="connsiteX0" fmla="*/ 295672 w 7066849"/>
                <a:gd name="connsiteY0" fmla="*/ 119120 h 592875"/>
                <a:gd name="connsiteX1" fmla="*/ 7064771 w 7066849"/>
                <a:gd name="connsiteY1" fmla="*/ 119120 h 592875"/>
                <a:gd name="connsiteX2" fmla="*/ 7066849 w 7066849"/>
                <a:gd name="connsiteY2" fmla="*/ 182182 h 592875"/>
                <a:gd name="connsiteX3" fmla="*/ 6805114 w 7066849"/>
                <a:gd name="connsiteY3" fmla="*/ 299988 h 592875"/>
                <a:gd name="connsiteX4" fmla="*/ 7061667 w 7066849"/>
                <a:gd name="connsiteY4" fmla="*/ 386969 h 592875"/>
                <a:gd name="connsiteX5" fmla="*/ 7064771 w 7066849"/>
                <a:gd name="connsiteY5" fmla="*/ 479120 h 592875"/>
                <a:gd name="connsiteX6" fmla="*/ 295672 w 7066849"/>
                <a:gd name="connsiteY6" fmla="*/ 479120 h 592875"/>
                <a:gd name="connsiteX7" fmla="*/ 294878 w 7066849"/>
                <a:gd name="connsiteY7" fmla="*/ 376479 h 592875"/>
                <a:gd name="connsiteX8" fmla="*/ 0 w 7066849"/>
                <a:gd name="connsiteY8" fmla="*/ 299988 h 592875"/>
                <a:gd name="connsiteX9" fmla="*/ 297259 w 7066849"/>
                <a:gd name="connsiteY9" fmla="*/ 216935 h 592875"/>
                <a:gd name="connsiteX10" fmla="*/ 295672 w 7066849"/>
                <a:gd name="connsiteY10" fmla="*/ 119120 h 59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6849" h="592875">
                  <a:moveTo>
                    <a:pt x="295672" y="119120"/>
                  </a:moveTo>
                  <a:lnTo>
                    <a:pt x="7064771" y="119120"/>
                  </a:lnTo>
                  <a:cubicBezTo>
                    <a:pt x="7065464" y="140141"/>
                    <a:pt x="7066156" y="161161"/>
                    <a:pt x="7066849" y="182182"/>
                  </a:cubicBezTo>
                  <a:cubicBezTo>
                    <a:pt x="7046360" y="269439"/>
                    <a:pt x="6841910" y="14340"/>
                    <a:pt x="6805114" y="299988"/>
                  </a:cubicBezTo>
                  <a:cubicBezTo>
                    <a:pt x="6872918" y="574008"/>
                    <a:pt x="7054701" y="296726"/>
                    <a:pt x="7061667" y="386969"/>
                  </a:cubicBezTo>
                  <a:lnTo>
                    <a:pt x="7064771" y="479120"/>
                  </a:lnTo>
                  <a:lnTo>
                    <a:pt x="295672" y="479120"/>
                  </a:lnTo>
                  <a:cubicBezTo>
                    <a:pt x="295407" y="444906"/>
                    <a:pt x="295143" y="410693"/>
                    <a:pt x="294878" y="376479"/>
                  </a:cubicBezTo>
                  <a:cubicBezTo>
                    <a:pt x="294746" y="345878"/>
                    <a:pt x="19937" y="592875"/>
                    <a:pt x="0" y="299988"/>
                  </a:cubicBezTo>
                  <a:cubicBezTo>
                    <a:pt x="22968" y="0"/>
                    <a:pt x="297127" y="246334"/>
                    <a:pt x="297259" y="216935"/>
                  </a:cubicBezTo>
                  <a:lnTo>
                    <a:pt x="295672" y="1191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smtClean="0"/>
                <a:t>Peer group</a:t>
              </a:r>
              <a:endParaRPr lang="en-US" sz="900" b="1" dirty="0"/>
            </a:p>
          </p:txBody>
        </p:sp>
        <p:sp>
          <p:nvSpPr>
            <p:cNvPr id="127" name="Textfeld 126"/>
            <p:cNvSpPr txBox="1"/>
            <p:nvPr/>
          </p:nvSpPr>
          <p:spPr>
            <a:xfrm>
              <a:off x="272481" y="5514144"/>
              <a:ext cx="7920479" cy="246221"/>
            </a:xfrm>
            <a:prstGeom prst="rect">
              <a:avLst/>
            </a:prstGeom>
            <a:noFill/>
          </p:spPr>
          <p:txBody>
            <a:bodyPr wrap="square" lIns="0" tIns="0" rIns="0" bIns="0" rtlCol="0">
              <a:spAutoFit/>
            </a:bodyPr>
            <a:lstStyle/>
            <a:p>
              <a:pPr marL="360363" indent="-360363"/>
              <a:r>
                <a:rPr lang="en-US" sz="800" dirty="0">
                  <a:latin typeface="Arial" pitchFamily="34" charset="0"/>
                  <a:cs typeface="Arial" pitchFamily="34" charset="0"/>
                </a:rPr>
                <a:t>Note:	a) See Market Analysis workbook; b) see Expenses (</a:t>
              </a:r>
              <a:r>
                <a:rPr lang="en-US" sz="800" dirty="0" err="1">
                  <a:latin typeface="Arial" pitchFamily="34" charset="0"/>
                  <a:cs typeface="Arial" pitchFamily="34" charset="0"/>
                </a:rPr>
                <a:t>CoS</a:t>
              </a:r>
              <a:r>
                <a:rPr lang="en-US" sz="800" dirty="0">
                  <a:latin typeface="Arial" pitchFamily="34" charset="0"/>
                  <a:cs typeface="Arial" pitchFamily="34" charset="0"/>
                </a:rPr>
                <a:t> or TCM) workbooks; c) see Planning Process and Adherence to Planning workbook; d) see Investments (Planning) workbook; e) see Normalized Earnings workbook; f) see Synergy Management workbook </a:t>
              </a:r>
              <a:endParaRPr lang="en-US" sz="800" dirty="0">
                <a:latin typeface="Arial" pitchFamily="34" charset="0"/>
                <a:cs typeface="Arial" pitchFamily="34" charset="0"/>
              </a:endParaRPr>
            </a:p>
          </p:txBody>
        </p:sp>
        <p:sp>
          <p:nvSpPr>
            <p:cNvPr id="128" name="Pfeil nach rechts 127"/>
            <p:cNvSpPr/>
            <p:nvPr/>
          </p:nvSpPr>
          <p:spPr>
            <a:xfrm>
              <a:off x="8920069" y="2125236"/>
              <a:ext cx="260975" cy="2304256"/>
            </a:xfrm>
            <a:prstGeom prst="rightArrow">
              <a:avLst>
                <a:gd name="adj1" fmla="val 100000"/>
                <a:gd name="adj2" fmla="val 1000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900" b="1" dirty="0" smtClean="0"/>
            </a:p>
          </p:txBody>
        </p:sp>
        <p:sp>
          <p:nvSpPr>
            <p:cNvPr id="129" name="Freihandform 128"/>
            <p:cNvSpPr/>
            <p:nvPr/>
          </p:nvSpPr>
          <p:spPr>
            <a:xfrm rot="10800000">
              <a:off x="272481" y="1106076"/>
              <a:ext cx="676408" cy="4381763"/>
            </a:xfrm>
            <a:custGeom>
              <a:avLst/>
              <a:gdLst>
                <a:gd name="connsiteX0" fmla="*/ 0 w 537964"/>
                <a:gd name="connsiteY0" fmla="*/ 0 h 4968329"/>
                <a:gd name="connsiteX1" fmla="*/ 537964 w 537964"/>
                <a:gd name="connsiteY1" fmla="*/ 0 h 4968329"/>
                <a:gd name="connsiteX2" fmla="*/ 537964 w 537964"/>
                <a:gd name="connsiteY2" fmla="*/ 4968329 h 4968329"/>
                <a:gd name="connsiteX3" fmla="*/ 0 w 537964"/>
                <a:gd name="connsiteY3" fmla="*/ 4968329 h 4968329"/>
                <a:gd name="connsiteX4" fmla="*/ 0 w 537964"/>
                <a:gd name="connsiteY4"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1 w 539055"/>
                <a:gd name="connsiteY5" fmla="*/ 0 h 4968329"/>
                <a:gd name="connsiteX0" fmla="*/ 89313 w 627277"/>
                <a:gd name="connsiteY0" fmla="*/ 543632 h 5511961"/>
                <a:gd name="connsiteX1" fmla="*/ 627277 w 627277"/>
                <a:gd name="connsiteY1" fmla="*/ 543632 h 5511961"/>
                <a:gd name="connsiteX2" fmla="*/ 627277 w 627277"/>
                <a:gd name="connsiteY2" fmla="*/ 5511961 h 5511961"/>
                <a:gd name="connsiteX3" fmla="*/ 89313 w 627277"/>
                <a:gd name="connsiteY3" fmla="*/ 5511961 h 5511961"/>
                <a:gd name="connsiteX4" fmla="*/ 88222 w 627277"/>
                <a:gd name="connsiteY4" fmla="*/ 807380 h 5511961"/>
                <a:gd name="connsiteX5" fmla="*/ 91398 w 627277"/>
                <a:gd name="connsiteY5" fmla="*/ 667680 h 5511961"/>
                <a:gd name="connsiteX6" fmla="*/ 89313 w 627277"/>
                <a:gd name="connsiteY6" fmla="*/ 543632 h 5511961"/>
                <a:gd name="connsiteX0" fmla="*/ 89313 w 627277"/>
                <a:gd name="connsiteY0" fmla="*/ 0 h 4968329"/>
                <a:gd name="connsiteX1" fmla="*/ 627277 w 627277"/>
                <a:gd name="connsiteY1" fmla="*/ 0 h 4968329"/>
                <a:gd name="connsiteX2" fmla="*/ 627277 w 627277"/>
                <a:gd name="connsiteY2" fmla="*/ 4968329 h 4968329"/>
                <a:gd name="connsiteX3" fmla="*/ 89313 w 627277"/>
                <a:gd name="connsiteY3" fmla="*/ 4968329 h 4968329"/>
                <a:gd name="connsiteX4" fmla="*/ 88222 w 627277"/>
                <a:gd name="connsiteY4" fmla="*/ 263748 h 4968329"/>
                <a:gd name="connsiteX5" fmla="*/ 91398 w 627277"/>
                <a:gd name="connsiteY5" fmla="*/ 124048 h 4968329"/>
                <a:gd name="connsiteX6" fmla="*/ 89313 w 627277"/>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091 w 539055"/>
                <a:gd name="connsiteY6"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176 w 539055"/>
                <a:gd name="connsiteY5" fmla="*/ 124048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109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0 h 4968329"/>
                <a:gd name="connsiteX1" fmla="*/ 539055 w 539055"/>
                <a:gd name="connsiteY1" fmla="*/ 0 h 4968329"/>
                <a:gd name="connsiteX2" fmla="*/ 539055 w 539055"/>
                <a:gd name="connsiteY2" fmla="*/ 4968329 h 4968329"/>
                <a:gd name="connsiteX3" fmla="*/ 1091 w 539055"/>
                <a:gd name="connsiteY3" fmla="*/ 4968329 h 4968329"/>
                <a:gd name="connsiteX4" fmla="*/ 0 w 539055"/>
                <a:gd name="connsiteY4" fmla="*/ 263748 h 4968329"/>
                <a:gd name="connsiteX5" fmla="*/ 361132 w 539055"/>
                <a:gd name="connsiteY5" fmla="*/ 144016 h 4968329"/>
                <a:gd name="connsiteX6" fmla="*/ 1 w 539055"/>
                <a:gd name="connsiteY6" fmla="*/ 44673 h 4968329"/>
                <a:gd name="connsiteX7" fmla="*/ 1091 w 539055"/>
                <a:gd name="connsiteY7" fmla="*/ 0 h 4968329"/>
                <a:gd name="connsiteX0" fmla="*/ 1091 w 539055"/>
                <a:gd name="connsiteY0" fmla="*/ 51941 h 5020270"/>
                <a:gd name="connsiteX1" fmla="*/ 539055 w 539055"/>
                <a:gd name="connsiteY1" fmla="*/ 51941 h 5020270"/>
                <a:gd name="connsiteX2" fmla="*/ 539055 w 539055"/>
                <a:gd name="connsiteY2" fmla="*/ 5020270 h 5020270"/>
                <a:gd name="connsiteX3" fmla="*/ 1091 w 539055"/>
                <a:gd name="connsiteY3" fmla="*/ 5020270 h 5020270"/>
                <a:gd name="connsiteX4" fmla="*/ 0 w 539055"/>
                <a:gd name="connsiteY4" fmla="*/ 315689 h 5020270"/>
                <a:gd name="connsiteX5" fmla="*/ 361132 w 539055"/>
                <a:gd name="connsiteY5" fmla="*/ 195957 h 5020270"/>
                <a:gd name="connsiteX6" fmla="*/ 1 w 539055"/>
                <a:gd name="connsiteY6" fmla="*/ 96614 h 5020270"/>
                <a:gd name="connsiteX7" fmla="*/ 1091 w 539055"/>
                <a:gd name="connsiteY7" fmla="*/ 51941 h 5020270"/>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74960 h 5043289"/>
                <a:gd name="connsiteX1" fmla="*/ 539055 w 539055"/>
                <a:gd name="connsiteY1" fmla="*/ 74960 h 5043289"/>
                <a:gd name="connsiteX2" fmla="*/ 539055 w 539055"/>
                <a:gd name="connsiteY2" fmla="*/ 5043289 h 5043289"/>
                <a:gd name="connsiteX3" fmla="*/ 1091 w 539055"/>
                <a:gd name="connsiteY3" fmla="*/ 5043289 h 5043289"/>
                <a:gd name="connsiteX4" fmla="*/ 0 w 539055"/>
                <a:gd name="connsiteY4" fmla="*/ 338708 h 5043289"/>
                <a:gd name="connsiteX5" fmla="*/ 361132 w 539055"/>
                <a:gd name="connsiteY5" fmla="*/ 218976 h 5043289"/>
                <a:gd name="connsiteX6" fmla="*/ 1 w 539055"/>
                <a:gd name="connsiteY6" fmla="*/ 119633 h 5043289"/>
                <a:gd name="connsiteX7" fmla="*/ 1091 w 539055"/>
                <a:gd name="connsiteY7" fmla="*/ 74960 h 5043289"/>
                <a:gd name="connsiteX0" fmla="*/ 1091 w 539055"/>
                <a:gd name="connsiteY0" fmla="*/ 107504 h 5075833"/>
                <a:gd name="connsiteX1" fmla="*/ 539055 w 539055"/>
                <a:gd name="connsiteY1" fmla="*/ 107504 h 5075833"/>
                <a:gd name="connsiteX2" fmla="*/ 539055 w 539055"/>
                <a:gd name="connsiteY2" fmla="*/ 5075833 h 5075833"/>
                <a:gd name="connsiteX3" fmla="*/ 1091 w 539055"/>
                <a:gd name="connsiteY3" fmla="*/ 5075833 h 5075833"/>
                <a:gd name="connsiteX4" fmla="*/ 0 w 539055"/>
                <a:gd name="connsiteY4" fmla="*/ 371252 h 5075833"/>
                <a:gd name="connsiteX5" fmla="*/ 361132 w 539055"/>
                <a:gd name="connsiteY5" fmla="*/ 251520 h 5075833"/>
                <a:gd name="connsiteX6" fmla="*/ 1 w 539055"/>
                <a:gd name="connsiteY6" fmla="*/ 152177 h 5075833"/>
                <a:gd name="connsiteX7" fmla="*/ 1091 w 539055"/>
                <a:gd name="connsiteY7" fmla="*/ 107504 h 5075833"/>
                <a:gd name="connsiteX0" fmla="*/ 1091 w 539055"/>
                <a:gd name="connsiteY0" fmla="*/ 55340 h 5023669"/>
                <a:gd name="connsiteX1" fmla="*/ 539055 w 539055"/>
                <a:gd name="connsiteY1" fmla="*/ 55340 h 5023669"/>
                <a:gd name="connsiteX2" fmla="*/ 539055 w 539055"/>
                <a:gd name="connsiteY2" fmla="*/ 5023669 h 5023669"/>
                <a:gd name="connsiteX3" fmla="*/ 1091 w 539055"/>
                <a:gd name="connsiteY3" fmla="*/ 5023669 h 5023669"/>
                <a:gd name="connsiteX4" fmla="*/ 0 w 539055"/>
                <a:gd name="connsiteY4" fmla="*/ 319088 h 5023669"/>
                <a:gd name="connsiteX5" fmla="*/ 361132 w 539055"/>
                <a:gd name="connsiteY5" fmla="*/ 199356 h 5023669"/>
                <a:gd name="connsiteX6" fmla="*/ 1 w 539055"/>
                <a:gd name="connsiteY6" fmla="*/ 100013 h 5023669"/>
                <a:gd name="connsiteX7" fmla="*/ 1091 w 539055"/>
                <a:gd name="connsiteY7" fmla="*/ 55340 h 5023669"/>
                <a:gd name="connsiteX0" fmla="*/ 1091 w 539055"/>
                <a:gd name="connsiteY0" fmla="*/ 100584 h 5068913"/>
                <a:gd name="connsiteX1" fmla="*/ 539055 w 539055"/>
                <a:gd name="connsiteY1" fmla="*/ 100584 h 5068913"/>
                <a:gd name="connsiteX2" fmla="*/ 539055 w 539055"/>
                <a:gd name="connsiteY2" fmla="*/ 5068913 h 5068913"/>
                <a:gd name="connsiteX3" fmla="*/ 1091 w 539055"/>
                <a:gd name="connsiteY3" fmla="*/ 5068913 h 5068913"/>
                <a:gd name="connsiteX4" fmla="*/ 0 w 539055"/>
                <a:gd name="connsiteY4" fmla="*/ 364332 h 5068913"/>
                <a:gd name="connsiteX5" fmla="*/ 361132 w 539055"/>
                <a:gd name="connsiteY5" fmla="*/ 244600 h 5068913"/>
                <a:gd name="connsiteX6" fmla="*/ 1 w 539055"/>
                <a:gd name="connsiteY6" fmla="*/ 145257 h 5068913"/>
                <a:gd name="connsiteX7" fmla="*/ 1091 w 539055"/>
                <a:gd name="connsiteY7" fmla="*/ 100584 h 5068913"/>
                <a:gd name="connsiteX0" fmla="*/ 1091 w 539055"/>
                <a:gd name="connsiteY0" fmla="*/ 139478 h 5107807"/>
                <a:gd name="connsiteX1" fmla="*/ 539055 w 539055"/>
                <a:gd name="connsiteY1" fmla="*/ 139478 h 5107807"/>
                <a:gd name="connsiteX2" fmla="*/ 539055 w 539055"/>
                <a:gd name="connsiteY2" fmla="*/ 5107807 h 5107807"/>
                <a:gd name="connsiteX3" fmla="*/ 1091 w 539055"/>
                <a:gd name="connsiteY3" fmla="*/ 5107807 h 5107807"/>
                <a:gd name="connsiteX4" fmla="*/ 0 w 539055"/>
                <a:gd name="connsiteY4" fmla="*/ 403226 h 5107807"/>
                <a:gd name="connsiteX5" fmla="*/ 361132 w 539055"/>
                <a:gd name="connsiteY5" fmla="*/ 283494 h 5107807"/>
                <a:gd name="connsiteX6" fmla="*/ 1 w 539055"/>
                <a:gd name="connsiteY6" fmla="*/ 184151 h 5107807"/>
                <a:gd name="connsiteX7" fmla="*/ 1091 w 539055"/>
                <a:gd name="connsiteY7" fmla="*/ 139478 h 5107807"/>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 w 539055"/>
                <a:gd name="connsiteY6" fmla="*/ 138337 h 5061993"/>
                <a:gd name="connsiteX7" fmla="*/ 1091 w 539055"/>
                <a:gd name="connsiteY7" fmla="*/ 93664 h 5061993"/>
                <a:gd name="connsiteX0" fmla="*/ 1091 w 539055"/>
                <a:gd name="connsiteY0" fmla="*/ 93664 h 5061993"/>
                <a:gd name="connsiteX1" fmla="*/ 539055 w 539055"/>
                <a:gd name="connsiteY1" fmla="*/ 93664 h 5061993"/>
                <a:gd name="connsiteX2" fmla="*/ 539055 w 539055"/>
                <a:gd name="connsiteY2" fmla="*/ 5061993 h 5061993"/>
                <a:gd name="connsiteX3" fmla="*/ 1091 w 539055"/>
                <a:gd name="connsiteY3" fmla="*/ 5061993 h 5061993"/>
                <a:gd name="connsiteX4" fmla="*/ 0 w 539055"/>
                <a:gd name="connsiteY4" fmla="*/ 357412 h 5061993"/>
                <a:gd name="connsiteX5" fmla="*/ 361132 w 539055"/>
                <a:gd name="connsiteY5" fmla="*/ 237680 h 5061993"/>
                <a:gd name="connsiteX6" fmla="*/ 1092 w 539055"/>
                <a:gd name="connsiteY6" fmla="*/ 165673 h 5061993"/>
                <a:gd name="connsiteX7" fmla="*/ 1091 w 539055"/>
                <a:gd name="connsiteY7" fmla="*/ 93664 h 5061993"/>
                <a:gd name="connsiteX0" fmla="*/ 1091 w 539055"/>
                <a:gd name="connsiteY0" fmla="*/ 21655 h 4989984"/>
                <a:gd name="connsiteX1" fmla="*/ 539055 w 539055"/>
                <a:gd name="connsiteY1" fmla="*/ 21655 h 4989984"/>
                <a:gd name="connsiteX2" fmla="*/ 539055 w 539055"/>
                <a:gd name="connsiteY2" fmla="*/ 4989984 h 4989984"/>
                <a:gd name="connsiteX3" fmla="*/ 1091 w 539055"/>
                <a:gd name="connsiteY3" fmla="*/ 4989984 h 4989984"/>
                <a:gd name="connsiteX4" fmla="*/ 0 w 539055"/>
                <a:gd name="connsiteY4" fmla="*/ 285403 h 4989984"/>
                <a:gd name="connsiteX5" fmla="*/ 361132 w 539055"/>
                <a:gd name="connsiteY5" fmla="*/ 237680 h 4989984"/>
                <a:gd name="connsiteX6" fmla="*/ 1092 w 539055"/>
                <a:gd name="connsiteY6" fmla="*/ 93664 h 4989984"/>
                <a:gd name="connsiteX7" fmla="*/ 1091 w 539055"/>
                <a:gd name="connsiteY7" fmla="*/ 21655 h 4989984"/>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77788 h 5046117"/>
                <a:gd name="connsiteX1" fmla="*/ 539055 w 539055"/>
                <a:gd name="connsiteY1" fmla="*/ 77788 h 5046117"/>
                <a:gd name="connsiteX2" fmla="*/ 539055 w 539055"/>
                <a:gd name="connsiteY2" fmla="*/ 5046117 h 5046117"/>
                <a:gd name="connsiteX3" fmla="*/ 1091 w 539055"/>
                <a:gd name="connsiteY3" fmla="*/ 5046117 h 5046117"/>
                <a:gd name="connsiteX4" fmla="*/ 0 w 539055"/>
                <a:gd name="connsiteY4" fmla="*/ 341536 h 5046117"/>
                <a:gd name="connsiteX5" fmla="*/ 361132 w 539055"/>
                <a:gd name="connsiteY5" fmla="*/ 293813 h 5046117"/>
                <a:gd name="connsiteX6" fmla="*/ 1092 w 539055"/>
                <a:gd name="connsiteY6" fmla="*/ 149797 h 5046117"/>
                <a:gd name="connsiteX7" fmla="*/ 1091 w 539055"/>
                <a:gd name="connsiteY7" fmla="*/ 77788 h 5046117"/>
                <a:gd name="connsiteX0" fmla="*/ 1091 w 539055"/>
                <a:gd name="connsiteY0" fmla="*/ 147415 h 5115744"/>
                <a:gd name="connsiteX1" fmla="*/ 539055 w 539055"/>
                <a:gd name="connsiteY1" fmla="*/ 147415 h 5115744"/>
                <a:gd name="connsiteX2" fmla="*/ 539055 w 539055"/>
                <a:gd name="connsiteY2" fmla="*/ 5115744 h 5115744"/>
                <a:gd name="connsiteX3" fmla="*/ 1091 w 539055"/>
                <a:gd name="connsiteY3" fmla="*/ 5115744 h 5115744"/>
                <a:gd name="connsiteX4" fmla="*/ 0 w 539055"/>
                <a:gd name="connsiteY4" fmla="*/ 411163 h 5115744"/>
                <a:gd name="connsiteX5" fmla="*/ 361132 w 539055"/>
                <a:gd name="connsiteY5" fmla="*/ 293813 h 5115744"/>
                <a:gd name="connsiteX6" fmla="*/ 1092 w 539055"/>
                <a:gd name="connsiteY6" fmla="*/ 219424 h 5115744"/>
                <a:gd name="connsiteX7" fmla="*/ 1091 w 539055"/>
                <a:gd name="connsiteY7" fmla="*/ 147415 h 5115744"/>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433140 w 539055"/>
                <a:gd name="connsiteY5" fmla="*/ 293813 h 5043736"/>
                <a:gd name="connsiteX6" fmla="*/ 1092 w 539055"/>
                <a:gd name="connsiteY6" fmla="*/ 147416 h 5043736"/>
                <a:gd name="connsiteX7" fmla="*/ 1091 w 539055"/>
                <a:gd name="connsiteY7" fmla="*/ 75407 h 5043736"/>
                <a:gd name="connsiteX0" fmla="*/ 1091 w 539055"/>
                <a:gd name="connsiteY0" fmla="*/ 75407 h 5043736"/>
                <a:gd name="connsiteX1" fmla="*/ 539055 w 539055"/>
                <a:gd name="connsiteY1" fmla="*/ 75407 h 5043736"/>
                <a:gd name="connsiteX2" fmla="*/ 539055 w 539055"/>
                <a:gd name="connsiteY2" fmla="*/ 5043736 h 5043736"/>
                <a:gd name="connsiteX3" fmla="*/ 1091 w 539055"/>
                <a:gd name="connsiteY3" fmla="*/ 5043736 h 5043736"/>
                <a:gd name="connsiteX4" fmla="*/ 0 w 539055"/>
                <a:gd name="connsiteY4" fmla="*/ 339155 h 5043736"/>
                <a:gd name="connsiteX5" fmla="*/ 361132 w 539055"/>
                <a:gd name="connsiteY5" fmla="*/ 293813 h 5043736"/>
                <a:gd name="connsiteX6" fmla="*/ 1092 w 539055"/>
                <a:gd name="connsiteY6" fmla="*/ 147416 h 5043736"/>
                <a:gd name="connsiteX7" fmla="*/ 1091 w 539055"/>
                <a:gd name="connsiteY7" fmla="*/ 75407 h 5043736"/>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38113 h 5106442"/>
                <a:gd name="connsiteX1" fmla="*/ 539055 w 539055"/>
                <a:gd name="connsiteY1" fmla="*/ 138113 h 5106442"/>
                <a:gd name="connsiteX2" fmla="*/ 539055 w 539055"/>
                <a:gd name="connsiteY2" fmla="*/ 5106442 h 5106442"/>
                <a:gd name="connsiteX3" fmla="*/ 1091 w 539055"/>
                <a:gd name="connsiteY3" fmla="*/ 5106442 h 5106442"/>
                <a:gd name="connsiteX4" fmla="*/ 0 w 539055"/>
                <a:gd name="connsiteY4" fmla="*/ 401861 h 5106442"/>
                <a:gd name="connsiteX5" fmla="*/ 361132 w 539055"/>
                <a:gd name="connsiteY5" fmla="*/ 356519 h 5106442"/>
                <a:gd name="connsiteX6" fmla="*/ 1092 w 539055"/>
                <a:gd name="connsiteY6" fmla="*/ 210122 h 5106442"/>
                <a:gd name="connsiteX7" fmla="*/ 1091 w 539055"/>
                <a:gd name="connsiteY7" fmla="*/ 138113 h 5106442"/>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1770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1091 w 539055"/>
                <a:gd name="connsiteY0" fmla="*/ 109761 h 5078090"/>
                <a:gd name="connsiteX1" fmla="*/ 539055 w 539055"/>
                <a:gd name="connsiteY1" fmla="*/ 109761 h 5078090"/>
                <a:gd name="connsiteX2" fmla="*/ 539055 w 539055"/>
                <a:gd name="connsiteY2" fmla="*/ 5078090 h 5078090"/>
                <a:gd name="connsiteX3" fmla="*/ 1091 w 539055"/>
                <a:gd name="connsiteY3" fmla="*/ 5078090 h 5078090"/>
                <a:gd name="connsiteX4" fmla="*/ 0 w 539055"/>
                <a:gd name="connsiteY4" fmla="*/ 373509 h 5078090"/>
                <a:gd name="connsiteX5" fmla="*/ 361132 w 539055"/>
                <a:gd name="connsiteY5" fmla="*/ 328167 h 5078090"/>
                <a:gd name="connsiteX6" fmla="*/ 1092 w 539055"/>
                <a:gd name="connsiteY6" fmla="*/ 184151 h 5078090"/>
                <a:gd name="connsiteX7" fmla="*/ 1091 w 539055"/>
                <a:gd name="connsiteY7" fmla="*/ 109761 h 5078090"/>
                <a:gd name="connsiteX0" fmla="*/ 89842 w 627806"/>
                <a:gd name="connsiteY0" fmla="*/ 109761 h 5695476"/>
                <a:gd name="connsiteX1" fmla="*/ 627806 w 627806"/>
                <a:gd name="connsiteY1" fmla="*/ 109761 h 5695476"/>
                <a:gd name="connsiteX2" fmla="*/ 627806 w 627806"/>
                <a:gd name="connsiteY2" fmla="*/ 5078090 h 5695476"/>
                <a:gd name="connsiteX3" fmla="*/ 89842 w 627806"/>
                <a:gd name="connsiteY3" fmla="*/ 5078090 h 5695476"/>
                <a:gd name="connsiteX4" fmla="*/ 88752 w 627806"/>
                <a:gd name="connsiteY4" fmla="*/ 4911379 h 5695476"/>
                <a:gd name="connsiteX5" fmla="*/ 88751 w 627806"/>
                <a:gd name="connsiteY5" fmla="*/ 373509 h 5695476"/>
                <a:gd name="connsiteX6" fmla="*/ 449883 w 627806"/>
                <a:gd name="connsiteY6" fmla="*/ 328167 h 5695476"/>
                <a:gd name="connsiteX7" fmla="*/ 89843 w 627806"/>
                <a:gd name="connsiteY7" fmla="*/ 184151 h 5695476"/>
                <a:gd name="connsiteX8" fmla="*/ 89842 w 627806"/>
                <a:gd name="connsiteY8" fmla="*/ 109761 h 5695476"/>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0189 w 599243"/>
                <a:gd name="connsiteY4" fmla="*/ 49113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1279 w 599243"/>
                <a:gd name="connsiteY0" fmla="*/ 109761 h 5078090"/>
                <a:gd name="connsiteX1" fmla="*/ 599243 w 599243"/>
                <a:gd name="connsiteY1" fmla="*/ 109761 h 5078090"/>
                <a:gd name="connsiteX2" fmla="*/ 599243 w 599243"/>
                <a:gd name="connsiteY2" fmla="*/ 5078090 h 5078090"/>
                <a:gd name="connsiteX3" fmla="*/ 61279 w 599243"/>
                <a:gd name="connsiteY3" fmla="*/ 5078090 h 5078090"/>
                <a:gd name="connsiteX4" fmla="*/ 61280 w 599243"/>
                <a:gd name="connsiteY4" fmla="*/ 4936679 h 5078090"/>
                <a:gd name="connsiteX5" fmla="*/ 60188 w 599243"/>
                <a:gd name="connsiteY5" fmla="*/ 373509 h 5078090"/>
                <a:gd name="connsiteX6" fmla="*/ 421320 w 599243"/>
                <a:gd name="connsiteY6" fmla="*/ 328167 h 5078090"/>
                <a:gd name="connsiteX7" fmla="*/ 61280 w 599243"/>
                <a:gd name="connsiteY7" fmla="*/ 184151 h 5078090"/>
                <a:gd name="connsiteX8" fmla="*/ 61279 w 599243"/>
                <a:gd name="connsiteY8" fmla="*/ 109761 h 5078090"/>
                <a:gd name="connsiteX0" fmla="*/ 60486 w 598450"/>
                <a:gd name="connsiteY0" fmla="*/ 109761 h 5567132"/>
                <a:gd name="connsiteX1" fmla="*/ 598450 w 598450"/>
                <a:gd name="connsiteY1" fmla="*/ 109761 h 5567132"/>
                <a:gd name="connsiteX2" fmla="*/ 598450 w 598450"/>
                <a:gd name="connsiteY2" fmla="*/ 5078090 h 5567132"/>
                <a:gd name="connsiteX3" fmla="*/ 60486 w 598450"/>
                <a:gd name="connsiteY3" fmla="*/ 5078090 h 5567132"/>
                <a:gd name="connsiteX4" fmla="*/ 60487 w 598450"/>
                <a:gd name="connsiteY4" fmla="*/ 4936679 h 5567132"/>
                <a:gd name="connsiteX5" fmla="*/ 64159 w 598450"/>
                <a:gd name="connsiteY5" fmla="*/ 4806604 h 5567132"/>
                <a:gd name="connsiteX6" fmla="*/ 59395 w 598450"/>
                <a:gd name="connsiteY6" fmla="*/ 373509 h 5567132"/>
                <a:gd name="connsiteX7" fmla="*/ 420527 w 598450"/>
                <a:gd name="connsiteY7" fmla="*/ 328167 h 5567132"/>
                <a:gd name="connsiteX8" fmla="*/ 60487 w 598450"/>
                <a:gd name="connsiteY8" fmla="*/ 184151 h 5567132"/>
                <a:gd name="connsiteX9" fmla="*/ 60486 w 598450"/>
                <a:gd name="connsiteY9" fmla="*/ 109761 h 5567132"/>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7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936679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60486 w 598450"/>
                <a:gd name="connsiteY4" fmla="*/ 4864671 h 5078090"/>
                <a:gd name="connsiteX5" fmla="*/ 64159 w 598450"/>
                <a:gd name="connsiteY5" fmla="*/ 4806604 h 5078090"/>
                <a:gd name="connsiteX6" fmla="*/ 59395 w 598450"/>
                <a:gd name="connsiteY6" fmla="*/ 373509 h 5078090"/>
                <a:gd name="connsiteX7" fmla="*/ 420527 w 598450"/>
                <a:gd name="connsiteY7" fmla="*/ 328167 h 5078090"/>
                <a:gd name="connsiteX8" fmla="*/ 60487 w 598450"/>
                <a:gd name="connsiteY8" fmla="*/ 184151 h 5078090"/>
                <a:gd name="connsiteX9" fmla="*/ 60486 w 598450"/>
                <a:gd name="connsiteY9" fmla="*/ 109761 h 5078090"/>
                <a:gd name="connsiteX0" fmla="*/ 89842 w 627806"/>
                <a:gd name="connsiteY0" fmla="*/ 109761 h 5078090"/>
                <a:gd name="connsiteX1" fmla="*/ 627806 w 627806"/>
                <a:gd name="connsiteY1" fmla="*/ 109761 h 5078090"/>
                <a:gd name="connsiteX2" fmla="*/ 627806 w 627806"/>
                <a:gd name="connsiteY2" fmla="*/ 5078090 h 5078090"/>
                <a:gd name="connsiteX3" fmla="*/ 89842 w 627806"/>
                <a:gd name="connsiteY3" fmla="*/ 5078090 h 5078090"/>
                <a:gd name="connsiteX4" fmla="*/ 88751 w 627806"/>
                <a:gd name="connsiteY4" fmla="*/ 4997104 h 5078090"/>
                <a:gd name="connsiteX5" fmla="*/ 89842 w 627806"/>
                <a:gd name="connsiteY5" fmla="*/ 4864671 h 5078090"/>
                <a:gd name="connsiteX6" fmla="*/ 93515 w 627806"/>
                <a:gd name="connsiteY6" fmla="*/ 4806604 h 5078090"/>
                <a:gd name="connsiteX7" fmla="*/ 88751 w 627806"/>
                <a:gd name="connsiteY7" fmla="*/ 373509 h 5078090"/>
                <a:gd name="connsiteX8" fmla="*/ 449883 w 627806"/>
                <a:gd name="connsiteY8" fmla="*/ 328167 h 5078090"/>
                <a:gd name="connsiteX9" fmla="*/ 89843 w 627806"/>
                <a:gd name="connsiteY9" fmla="*/ 184151 h 5078090"/>
                <a:gd name="connsiteX10" fmla="*/ 89842 w 627806"/>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078090"/>
                <a:gd name="connsiteX1" fmla="*/ 598450 w 598450"/>
                <a:gd name="connsiteY1" fmla="*/ 109761 h 5078090"/>
                <a:gd name="connsiteX2" fmla="*/ 598450 w 598450"/>
                <a:gd name="connsiteY2" fmla="*/ 5078090 h 5078090"/>
                <a:gd name="connsiteX3" fmla="*/ 60486 w 598450"/>
                <a:gd name="connsiteY3" fmla="*/ 5078090 h 5078090"/>
                <a:gd name="connsiteX4" fmla="*/ 59395 w 598450"/>
                <a:gd name="connsiteY4" fmla="*/ 4997104 h 5078090"/>
                <a:gd name="connsiteX5" fmla="*/ 60486 w 598450"/>
                <a:gd name="connsiteY5" fmla="*/ 4864671 h 5078090"/>
                <a:gd name="connsiteX6" fmla="*/ 64159 w 598450"/>
                <a:gd name="connsiteY6" fmla="*/ 4806604 h 5078090"/>
                <a:gd name="connsiteX7" fmla="*/ 59395 w 598450"/>
                <a:gd name="connsiteY7" fmla="*/ 373509 h 5078090"/>
                <a:gd name="connsiteX8" fmla="*/ 420527 w 598450"/>
                <a:gd name="connsiteY8" fmla="*/ 328167 h 5078090"/>
                <a:gd name="connsiteX9" fmla="*/ 60487 w 598450"/>
                <a:gd name="connsiteY9" fmla="*/ 184151 h 5078090"/>
                <a:gd name="connsiteX10" fmla="*/ 60486 w 598450"/>
                <a:gd name="connsiteY10" fmla="*/ 109761 h 5078090"/>
                <a:gd name="connsiteX0" fmla="*/ 60486 w 598450"/>
                <a:gd name="connsiteY0" fmla="*/ 109761 h 5577203"/>
                <a:gd name="connsiteX1" fmla="*/ 598450 w 598450"/>
                <a:gd name="connsiteY1" fmla="*/ 109761 h 5577203"/>
                <a:gd name="connsiteX2" fmla="*/ 598450 w 598450"/>
                <a:gd name="connsiteY2" fmla="*/ 5078090 h 5577203"/>
                <a:gd name="connsiteX3" fmla="*/ 60486 w 598450"/>
                <a:gd name="connsiteY3" fmla="*/ 5078090 h 5577203"/>
                <a:gd name="connsiteX4" fmla="*/ 59395 w 598450"/>
                <a:gd name="connsiteY4" fmla="*/ 4997104 h 5577203"/>
                <a:gd name="connsiteX5" fmla="*/ 64159 w 598450"/>
                <a:gd name="connsiteY5" fmla="*/ 4806604 h 5577203"/>
                <a:gd name="connsiteX6" fmla="*/ 59395 w 598450"/>
                <a:gd name="connsiteY6" fmla="*/ 373509 h 5577203"/>
                <a:gd name="connsiteX7" fmla="*/ 420527 w 598450"/>
                <a:gd name="connsiteY7" fmla="*/ 328167 h 5577203"/>
                <a:gd name="connsiteX8" fmla="*/ 60487 w 598450"/>
                <a:gd name="connsiteY8" fmla="*/ 184151 h 5577203"/>
                <a:gd name="connsiteX9" fmla="*/ 60486 w 598450"/>
                <a:gd name="connsiteY9" fmla="*/ 109761 h 5577203"/>
                <a:gd name="connsiteX0" fmla="*/ 64159 w 598450"/>
                <a:gd name="connsiteY0" fmla="*/ 4806604 h 5088544"/>
                <a:gd name="connsiteX1" fmla="*/ 59395 w 598450"/>
                <a:gd name="connsiteY1" fmla="*/ 373509 h 5088544"/>
                <a:gd name="connsiteX2" fmla="*/ 420527 w 598450"/>
                <a:gd name="connsiteY2" fmla="*/ 328167 h 5088544"/>
                <a:gd name="connsiteX3" fmla="*/ 60487 w 598450"/>
                <a:gd name="connsiteY3" fmla="*/ 184151 h 5088544"/>
                <a:gd name="connsiteX4" fmla="*/ 60486 w 598450"/>
                <a:gd name="connsiteY4" fmla="*/ 109761 h 5088544"/>
                <a:gd name="connsiteX5" fmla="*/ 598450 w 598450"/>
                <a:gd name="connsiteY5" fmla="*/ 109761 h 5088544"/>
                <a:gd name="connsiteX6" fmla="*/ 598450 w 598450"/>
                <a:gd name="connsiteY6" fmla="*/ 5078090 h 5088544"/>
                <a:gd name="connsiteX7" fmla="*/ 60486 w 598450"/>
                <a:gd name="connsiteY7" fmla="*/ 5078090 h 5088544"/>
                <a:gd name="connsiteX8" fmla="*/ 150835 w 598450"/>
                <a:gd name="connsiteY8" fmla="*/ 5088544 h 5088544"/>
                <a:gd name="connsiteX0" fmla="*/ 64159 w 598450"/>
                <a:gd name="connsiteY0" fmla="*/ 4806604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4720655 h 5078090"/>
                <a:gd name="connsiteX1" fmla="*/ 59395 w 598450"/>
                <a:gd name="connsiteY1" fmla="*/ 373509 h 5078090"/>
                <a:gd name="connsiteX2" fmla="*/ 420527 w 598450"/>
                <a:gd name="connsiteY2" fmla="*/ 328167 h 5078090"/>
                <a:gd name="connsiteX3" fmla="*/ 60487 w 598450"/>
                <a:gd name="connsiteY3" fmla="*/ 184151 h 5078090"/>
                <a:gd name="connsiteX4" fmla="*/ 60486 w 598450"/>
                <a:gd name="connsiteY4" fmla="*/ 109761 h 5078090"/>
                <a:gd name="connsiteX5" fmla="*/ 598450 w 598450"/>
                <a:gd name="connsiteY5" fmla="*/ 109761 h 5078090"/>
                <a:gd name="connsiteX6" fmla="*/ 598450 w 598450"/>
                <a:gd name="connsiteY6" fmla="*/ 5078090 h 5078090"/>
                <a:gd name="connsiteX7" fmla="*/ 60486 w 598450"/>
                <a:gd name="connsiteY7" fmla="*/ 5078090 h 5078090"/>
                <a:gd name="connsiteX0" fmla="*/ 60486 w 598450"/>
                <a:gd name="connsiteY0" fmla="*/ 5080695 h 5080695"/>
                <a:gd name="connsiteX1" fmla="*/ 59395 w 598450"/>
                <a:gd name="connsiteY1" fmla="*/ 373509 h 5080695"/>
                <a:gd name="connsiteX2" fmla="*/ 420527 w 598450"/>
                <a:gd name="connsiteY2" fmla="*/ 328167 h 5080695"/>
                <a:gd name="connsiteX3" fmla="*/ 60487 w 598450"/>
                <a:gd name="connsiteY3" fmla="*/ 184151 h 5080695"/>
                <a:gd name="connsiteX4" fmla="*/ 60486 w 598450"/>
                <a:gd name="connsiteY4" fmla="*/ 109761 h 5080695"/>
                <a:gd name="connsiteX5" fmla="*/ 598450 w 598450"/>
                <a:gd name="connsiteY5" fmla="*/ 109761 h 5080695"/>
                <a:gd name="connsiteX6" fmla="*/ 598450 w 598450"/>
                <a:gd name="connsiteY6" fmla="*/ 5078090 h 5080695"/>
                <a:gd name="connsiteX7" fmla="*/ 60486 w 598450"/>
                <a:gd name="connsiteY7" fmla="*/ 5078090 h 5080695"/>
                <a:gd name="connsiteX0" fmla="*/ 62073 w 600037"/>
                <a:gd name="connsiteY0" fmla="*/ 5080695 h 5567322"/>
                <a:gd name="connsiteX1" fmla="*/ 56220 w 600037"/>
                <a:gd name="connsiteY1" fmla="*/ 4782791 h 5567322"/>
                <a:gd name="connsiteX2" fmla="*/ 60982 w 600037"/>
                <a:gd name="connsiteY2" fmla="*/ 373509 h 5567322"/>
                <a:gd name="connsiteX3" fmla="*/ 422114 w 600037"/>
                <a:gd name="connsiteY3" fmla="*/ 328167 h 5567322"/>
                <a:gd name="connsiteX4" fmla="*/ 62074 w 600037"/>
                <a:gd name="connsiteY4" fmla="*/ 184151 h 5567322"/>
                <a:gd name="connsiteX5" fmla="*/ 62073 w 600037"/>
                <a:gd name="connsiteY5" fmla="*/ 109761 h 5567322"/>
                <a:gd name="connsiteX6" fmla="*/ 600037 w 600037"/>
                <a:gd name="connsiteY6" fmla="*/ 109761 h 5567322"/>
                <a:gd name="connsiteX7" fmla="*/ 600037 w 600037"/>
                <a:gd name="connsiteY7" fmla="*/ 5078090 h 5567322"/>
                <a:gd name="connsiteX8" fmla="*/ 62073 w 600037"/>
                <a:gd name="connsiteY8" fmla="*/ 5078090 h 5567322"/>
                <a:gd name="connsiteX0" fmla="*/ 62073 w 600037"/>
                <a:gd name="connsiteY0" fmla="*/ 5080695 h 5080695"/>
                <a:gd name="connsiteX1" fmla="*/ 56220 w 600037"/>
                <a:gd name="connsiteY1" fmla="*/ 4782791 h 5080695"/>
                <a:gd name="connsiteX2" fmla="*/ 60982 w 600037"/>
                <a:gd name="connsiteY2" fmla="*/ 373509 h 5080695"/>
                <a:gd name="connsiteX3" fmla="*/ 422114 w 600037"/>
                <a:gd name="connsiteY3" fmla="*/ 328167 h 5080695"/>
                <a:gd name="connsiteX4" fmla="*/ 62074 w 600037"/>
                <a:gd name="connsiteY4" fmla="*/ 184151 h 5080695"/>
                <a:gd name="connsiteX5" fmla="*/ 62073 w 600037"/>
                <a:gd name="connsiteY5" fmla="*/ 109761 h 5080695"/>
                <a:gd name="connsiteX6" fmla="*/ 600037 w 600037"/>
                <a:gd name="connsiteY6" fmla="*/ 109761 h 5080695"/>
                <a:gd name="connsiteX7" fmla="*/ 600037 w 600037"/>
                <a:gd name="connsiteY7" fmla="*/ 5078090 h 5080695"/>
                <a:gd name="connsiteX8" fmla="*/ 62073 w 600037"/>
                <a:gd name="connsiteY8" fmla="*/ 5078090 h 5080695"/>
                <a:gd name="connsiteX0" fmla="*/ 62073 w 600037"/>
                <a:gd name="connsiteY0" fmla="*/ 5080695 h 5080695"/>
                <a:gd name="connsiteX1" fmla="*/ 51458 w 600037"/>
                <a:gd name="connsiteY1" fmla="*/ 4901854 h 5080695"/>
                <a:gd name="connsiteX2" fmla="*/ 56220 w 600037"/>
                <a:gd name="connsiteY2" fmla="*/ 4782791 h 5080695"/>
                <a:gd name="connsiteX3" fmla="*/ 60982 w 600037"/>
                <a:gd name="connsiteY3" fmla="*/ 373509 h 5080695"/>
                <a:gd name="connsiteX4" fmla="*/ 422114 w 600037"/>
                <a:gd name="connsiteY4" fmla="*/ 328167 h 5080695"/>
                <a:gd name="connsiteX5" fmla="*/ 62074 w 600037"/>
                <a:gd name="connsiteY5" fmla="*/ 184151 h 5080695"/>
                <a:gd name="connsiteX6" fmla="*/ 62073 w 600037"/>
                <a:gd name="connsiteY6" fmla="*/ 109761 h 5080695"/>
                <a:gd name="connsiteX7" fmla="*/ 600037 w 600037"/>
                <a:gd name="connsiteY7" fmla="*/ 109761 h 5080695"/>
                <a:gd name="connsiteX8" fmla="*/ 600037 w 600037"/>
                <a:gd name="connsiteY8" fmla="*/ 5078090 h 5080695"/>
                <a:gd name="connsiteX9" fmla="*/ 62073 w 600037"/>
                <a:gd name="connsiteY9" fmla="*/ 5078090 h 5080695"/>
                <a:gd name="connsiteX0" fmla="*/ 62073 w 600037"/>
                <a:gd name="connsiteY0" fmla="*/ 5080695 h 5080695"/>
                <a:gd name="connsiteX1" fmla="*/ 51458 w 600037"/>
                <a:gd name="connsiteY1" fmla="*/ 5020916 h 5080695"/>
                <a:gd name="connsiteX2" fmla="*/ 51458 w 600037"/>
                <a:gd name="connsiteY2" fmla="*/ 4901854 h 5080695"/>
                <a:gd name="connsiteX3" fmla="*/ 56220 w 600037"/>
                <a:gd name="connsiteY3" fmla="*/ 4782791 h 5080695"/>
                <a:gd name="connsiteX4" fmla="*/ 60982 w 600037"/>
                <a:gd name="connsiteY4" fmla="*/ 373509 h 5080695"/>
                <a:gd name="connsiteX5" fmla="*/ 422114 w 600037"/>
                <a:gd name="connsiteY5" fmla="*/ 328167 h 5080695"/>
                <a:gd name="connsiteX6" fmla="*/ 62074 w 600037"/>
                <a:gd name="connsiteY6" fmla="*/ 184151 h 5080695"/>
                <a:gd name="connsiteX7" fmla="*/ 62073 w 600037"/>
                <a:gd name="connsiteY7" fmla="*/ 109761 h 5080695"/>
                <a:gd name="connsiteX8" fmla="*/ 600037 w 600037"/>
                <a:gd name="connsiteY8" fmla="*/ 109761 h 5080695"/>
                <a:gd name="connsiteX9" fmla="*/ 600037 w 600037"/>
                <a:gd name="connsiteY9" fmla="*/ 5078090 h 5080695"/>
                <a:gd name="connsiteX10" fmla="*/ 62073 w 600037"/>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080695"/>
                <a:gd name="connsiteX1" fmla="*/ 421432 w 970011"/>
                <a:gd name="connsiteY1" fmla="*/ 5020916 h 5080695"/>
                <a:gd name="connsiteX2" fmla="*/ 0 w 970011"/>
                <a:gd name="connsiteY2" fmla="*/ 4936679 h 5080695"/>
                <a:gd name="connsiteX3" fmla="*/ 426194 w 970011"/>
                <a:gd name="connsiteY3" fmla="*/ 4782791 h 5080695"/>
                <a:gd name="connsiteX4" fmla="*/ 430956 w 970011"/>
                <a:gd name="connsiteY4" fmla="*/ 373509 h 5080695"/>
                <a:gd name="connsiteX5" fmla="*/ 792088 w 970011"/>
                <a:gd name="connsiteY5" fmla="*/ 328167 h 5080695"/>
                <a:gd name="connsiteX6" fmla="*/ 432048 w 970011"/>
                <a:gd name="connsiteY6" fmla="*/ 184151 h 5080695"/>
                <a:gd name="connsiteX7" fmla="*/ 432047 w 970011"/>
                <a:gd name="connsiteY7" fmla="*/ 109761 h 5080695"/>
                <a:gd name="connsiteX8" fmla="*/ 970011 w 970011"/>
                <a:gd name="connsiteY8" fmla="*/ 109761 h 5080695"/>
                <a:gd name="connsiteX9" fmla="*/ 970011 w 970011"/>
                <a:gd name="connsiteY9" fmla="*/ 5078090 h 5080695"/>
                <a:gd name="connsiteX10" fmla="*/ 432047 w 970011"/>
                <a:gd name="connsiteY10" fmla="*/ 5078090 h 5080695"/>
                <a:gd name="connsiteX0" fmla="*/ 432047 w 970011"/>
                <a:gd name="connsiteY0" fmla="*/ 5080695 h 5334745"/>
                <a:gd name="connsiteX1" fmla="*/ 421432 w 970011"/>
                <a:gd name="connsiteY1" fmla="*/ 5020916 h 5334745"/>
                <a:gd name="connsiteX2" fmla="*/ 0 w 970011"/>
                <a:gd name="connsiteY2" fmla="*/ 4936679 h 5334745"/>
                <a:gd name="connsiteX3" fmla="*/ 426194 w 970011"/>
                <a:gd name="connsiteY3" fmla="*/ 4782791 h 5334745"/>
                <a:gd name="connsiteX4" fmla="*/ 430956 w 970011"/>
                <a:gd name="connsiteY4" fmla="*/ 373509 h 5334745"/>
                <a:gd name="connsiteX5" fmla="*/ 792088 w 970011"/>
                <a:gd name="connsiteY5" fmla="*/ 328167 h 5334745"/>
                <a:gd name="connsiteX6" fmla="*/ 432048 w 970011"/>
                <a:gd name="connsiteY6" fmla="*/ 184151 h 5334745"/>
                <a:gd name="connsiteX7" fmla="*/ 432047 w 970011"/>
                <a:gd name="connsiteY7" fmla="*/ 109761 h 5334745"/>
                <a:gd name="connsiteX8" fmla="*/ 970011 w 970011"/>
                <a:gd name="connsiteY8" fmla="*/ 109761 h 5334745"/>
                <a:gd name="connsiteX9" fmla="*/ 970011 w 970011"/>
                <a:gd name="connsiteY9" fmla="*/ 5078090 h 5334745"/>
                <a:gd name="connsiteX10" fmla="*/ 432047 w 970011"/>
                <a:gd name="connsiteY10" fmla="*/ 5078090 h 5334745"/>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191722"/>
                <a:gd name="connsiteX1" fmla="*/ 421432 w 970011"/>
                <a:gd name="connsiteY1" fmla="*/ 5020916 h 5191722"/>
                <a:gd name="connsiteX2" fmla="*/ 0 w 970011"/>
                <a:gd name="connsiteY2" fmla="*/ 4864671 h 5191722"/>
                <a:gd name="connsiteX3" fmla="*/ 426194 w 970011"/>
                <a:gd name="connsiteY3" fmla="*/ 4782791 h 5191722"/>
                <a:gd name="connsiteX4" fmla="*/ 430956 w 970011"/>
                <a:gd name="connsiteY4" fmla="*/ 373509 h 5191722"/>
                <a:gd name="connsiteX5" fmla="*/ 792088 w 970011"/>
                <a:gd name="connsiteY5" fmla="*/ 328167 h 5191722"/>
                <a:gd name="connsiteX6" fmla="*/ 432048 w 970011"/>
                <a:gd name="connsiteY6" fmla="*/ 184151 h 5191722"/>
                <a:gd name="connsiteX7" fmla="*/ 432047 w 970011"/>
                <a:gd name="connsiteY7" fmla="*/ 109761 h 5191722"/>
                <a:gd name="connsiteX8" fmla="*/ 970011 w 970011"/>
                <a:gd name="connsiteY8" fmla="*/ 109761 h 5191722"/>
                <a:gd name="connsiteX9" fmla="*/ 970011 w 970011"/>
                <a:gd name="connsiteY9" fmla="*/ 5078090 h 5191722"/>
                <a:gd name="connsiteX10" fmla="*/ 432047 w 970011"/>
                <a:gd name="connsiteY10" fmla="*/ 5078090 h 5191722"/>
                <a:gd name="connsiteX0" fmla="*/ 432047 w 970011"/>
                <a:gd name="connsiteY0" fmla="*/ 5080695 h 5263730"/>
                <a:gd name="connsiteX1" fmla="*/ 421432 w 970011"/>
                <a:gd name="connsiteY1" fmla="*/ 5020916 h 5263730"/>
                <a:gd name="connsiteX2" fmla="*/ 0 w 970011"/>
                <a:gd name="connsiteY2" fmla="*/ 4936679 h 5263730"/>
                <a:gd name="connsiteX3" fmla="*/ 426194 w 970011"/>
                <a:gd name="connsiteY3" fmla="*/ 4782791 h 5263730"/>
                <a:gd name="connsiteX4" fmla="*/ 430956 w 970011"/>
                <a:gd name="connsiteY4" fmla="*/ 373509 h 5263730"/>
                <a:gd name="connsiteX5" fmla="*/ 792088 w 970011"/>
                <a:gd name="connsiteY5" fmla="*/ 328167 h 5263730"/>
                <a:gd name="connsiteX6" fmla="*/ 432048 w 970011"/>
                <a:gd name="connsiteY6" fmla="*/ 184151 h 5263730"/>
                <a:gd name="connsiteX7" fmla="*/ 432047 w 970011"/>
                <a:gd name="connsiteY7" fmla="*/ 109761 h 5263730"/>
                <a:gd name="connsiteX8" fmla="*/ 970011 w 970011"/>
                <a:gd name="connsiteY8" fmla="*/ 109761 h 5263730"/>
                <a:gd name="connsiteX9" fmla="*/ 970011 w 970011"/>
                <a:gd name="connsiteY9" fmla="*/ 5078090 h 5263730"/>
                <a:gd name="connsiteX10" fmla="*/ 432047 w 970011"/>
                <a:gd name="connsiteY10" fmla="*/ 5078090 h 5263730"/>
                <a:gd name="connsiteX0" fmla="*/ 432047 w 970011"/>
                <a:gd name="connsiteY0" fmla="*/ 5080695 h 5216527"/>
                <a:gd name="connsiteX1" fmla="*/ 421432 w 970011"/>
                <a:gd name="connsiteY1" fmla="*/ 5020916 h 5216527"/>
                <a:gd name="connsiteX2" fmla="*/ 0 w 970011"/>
                <a:gd name="connsiteY2" fmla="*/ 4936679 h 5216527"/>
                <a:gd name="connsiteX3" fmla="*/ 426194 w 970011"/>
                <a:gd name="connsiteY3" fmla="*/ 4782791 h 5216527"/>
                <a:gd name="connsiteX4" fmla="*/ 430956 w 970011"/>
                <a:gd name="connsiteY4" fmla="*/ 373509 h 5216527"/>
                <a:gd name="connsiteX5" fmla="*/ 792088 w 970011"/>
                <a:gd name="connsiteY5" fmla="*/ 328167 h 5216527"/>
                <a:gd name="connsiteX6" fmla="*/ 432048 w 970011"/>
                <a:gd name="connsiteY6" fmla="*/ 184151 h 5216527"/>
                <a:gd name="connsiteX7" fmla="*/ 432047 w 970011"/>
                <a:gd name="connsiteY7" fmla="*/ 109761 h 5216527"/>
                <a:gd name="connsiteX8" fmla="*/ 970011 w 970011"/>
                <a:gd name="connsiteY8" fmla="*/ 109761 h 5216527"/>
                <a:gd name="connsiteX9" fmla="*/ 970011 w 970011"/>
                <a:gd name="connsiteY9" fmla="*/ 5078090 h 5216527"/>
                <a:gd name="connsiteX10" fmla="*/ 432047 w 970011"/>
                <a:gd name="connsiteY10" fmla="*/ 5078090 h 5216527"/>
                <a:gd name="connsiteX0" fmla="*/ 360039 w 898003"/>
                <a:gd name="connsiteY0" fmla="*/ 5080695 h 5216528"/>
                <a:gd name="connsiteX1" fmla="*/ 349424 w 898003"/>
                <a:gd name="connsiteY1" fmla="*/ 5020916 h 5216528"/>
                <a:gd name="connsiteX2" fmla="*/ 0 w 898003"/>
                <a:gd name="connsiteY2" fmla="*/ 4936680 h 5216528"/>
                <a:gd name="connsiteX3" fmla="*/ 354186 w 898003"/>
                <a:gd name="connsiteY3" fmla="*/ 4782791 h 5216528"/>
                <a:gd name="connsiteX4" fmla="*/ 358948 w 898003"/>
                <a:gd name="connsiteY4" fmla="*/ 373509 h 5216528"/>
                <a:gd name="connsiteX5" fmla="*/ 720080 w 898003"/>
                <a:gd name="connsiteY5" fmla="*/ 328167 h 5216528"/>
                <a:gd name="connsiteX6" fmla="*/ 360040 w 898003"/>
                <a:gd name="connsiteY6" fmla="*/ 184151 h 5216528"/>
                <a:gd name="connsiteX7" fmla="*/ 360039 w 898003"/>
                <a:gd name="connsiteY7" fmla="*/ 109761 h 5216528"/>
                <a:gd name="connsiteX8" fmla="*/ 898003 w 898003"/>
                <a:gd name="connsiteY8" fmla="*/ 109761 h 5216528"/>
                <a:gd name="connsiteX9" fmla="*/ 898003 w 898003"/>
                <a:gd name="connsiteY9" fmla="*/ 5078090 h 5216528"/>
                <a:gd name="connsiteX10" fmla="*/ 360039 w 898003"/>
                <a:gd name="connsiteY10" fmla="*/ 5078090 h 521652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93568 w 931532"/>
                <a:gd name="connsiteY0" fmla="*/ 5080695 h 5186088"/>
                <a:gd name="connsiteX1" fmla="*/ 382953 w 931532"/>
                <a:gd name="connsiteY1" fmla="*/ 5020916 h 5186088"/>
                <a:gd name="connsiteX2" fmla="*/ 33529 w 931532"/>
                <a:gd name="connsiteY2" fmla="*/ 4936680 h 5186088"/>
                <a:gd name="connsiteX3" fmla="*/ 387715 w 931532"/>
                <a:gd name="connsiteY3" fmla="*/ 4782791 h 5186088"/>
                <a:gd name="connsiteX4" fmla="*/ 392477 w 931532"/>
                <a:gd name="connsiteY4" fmla="*/ 373509 h 5186088"/>
                <a:gd name="connsiteX5" fmla="*/ 753609 w 931532"/>
                <a:gd name="connsiteY5" fmla="*/ 328167 h 5186088"/>
                <a:gd name="connsiteX6" fmla="*/ 393569 w 931532"/>
                <a:gd name="connsiteY6" fmla="*/ 184151 h 5186088"/>
                <a:gd name="connsiteX7" fmla="*/ 393568 w 931532"/>
                <a:gd name="connsiteY7" fmla="*/ 109761 h 5186088"/>
                <a:gd name="connsiteX8" fmla="*/ 931532 w 931532"/>
                <a:gd name="connsiteY8" fmla="*/ 109761 h 5186088"/>
                <a:gd name="connsiteX9" fmla="*/ 931532 w 931532"/>
                <a:gd name="connsiteY9" fmla="*/ 5078090 h 5186088"/>
                <a:gd name="connsiteX10" fmla="*/ 393568 w 931532"/>
                <a:gd name="connsiteY10" fmla="*/ 5078090 h 5186088"/>
                <a:gd name="connsiteX0" fmla="*/ 360039 w 898003"/>
                <a:gd name="connsiteY0" fmla="*/ 5080695 h 5186088"/>
                <a:gd name="connsiteX1" fmla="*/ 349424 w 898003"/>
                <a:gd name="connsiteY1" fmla="*/ 5020916 h 5186088"/>
                <a:gd name="connsiteX2" fmla="*/ 0 w 898003"/>
                <a:gd name="connsiteY2" fmla="*/ 4936680 h 5186088"/>
                <a:gd name="connsiteX3" fmla="*/ 354186 w 898003"/>
                <a:gd name="connsiteY3" fmla="*/ 4782791 h 5186088"/>
                <a:gd name="connsiteX4" fmla="*/ 358948 w 898003"/>
                <a:gd name="connsiteY4" fmla="*/ 373509 h 5186088"/>
                <a:gd name="connsiteX5" fmla="*/ 720080 w 898003"/>
                <a:gd name="connsiteY5" fmla="*/ 328167 h 5186088"/>
                <a:gd name="connsiteX6" fmla="*/ 360040 w 898003"/>
                <a:gd name="connsiteY6" fmla="*/ 184151 h 5186088"/>
                <a:gd name="connsiteX7" fmla="*/ 360039 w 898003"/>
                <a:gd name="connsiteY7" fmla="*/ 109761 h 5186088"/>
                <a:gd name="connsiteX8" fmla="*/ 898003 w 898003"/>
                <a:gd name="connsiteY8" fmla="*/ 109761 h 5186088"/>
                <a:gd name="connsiteX9" fmla="*/ 898003 w 898003"/>
                <a:gd name="connsiteY9" fmla="*/ 5078090 h 5186088"/>
                <a:gd name="connsiteX10" fmla="*/ 360039 w 898003"/>
                <a:gd name="connsiteY10" fmla="*/ 5078090 h 5186088"/>
                <a:gd name="connsiteX0" fmla="*/ 360039 w 898003"/>
                <a:gd name="connsiteY0" fmla="*/ 5080695 h 5186087"/>
                <a:gd name="connsiteX1" fmla="*/ 349424 w 898003"/>
                <a:gd name="connsiteY1" fmla="*/ 5020916 h 5186087"/>
                <a:gd name="connsiteX2" fmla="*/ 0 w 898003"/>
                <a:gd name="connsiteY2" fmla="*/ 4936679 h 5186087"/>
                <a:gd name="connsiteX3" fmla="*/ 354186 w 898003"/>
                <a:gd name="connsiteY3" fmla="*/ 4782791 h 5186087"/>
                <a:gd name="connsiteX4" fmla="*/ 358948 w 898003"/>
                <a:gd name="connsiteY4" fmla="*/ 373509 h 5186087"/>
                <a:gd name="connsiteX5" fmla="*/ 720080 w 898003"/>
                <a:gd name="connsiteY5" fmla="*/ 328167 h 5186087"/>
                <a:gd name="connsiteX6" fmla="*/ 360040 w 898003"/>
                <a:gd name="connsiteY6" fmla="*/ 184151 h 5186087"/>
                <a:gd name="connsiteX7" fmla="*/ 360039 w 898003"/>
                <a:gd name="connsiteY7" fmla="*/ 109761 h 5186087"/>
                <a:gd name="connsiteX8" fmla="*/ 898003 w 898003"/>
                <a:gd name="connsiteY8" fmla="*/ 109761 h 5186087"/>
                <a:gd name="connsiteX9" fmla="*/ 898003 w 898003"/>
                <a:gd name="connsiteY9" fmla="*/ 5078090 h 5186087"/>
                <a:gd name="connsiteX10" fmla="*/ 360039 w 898003"/>
                <a:gd name="connsiteY10" fmla="*/ 5078090 h 5186087"/>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6088"/>
                <a:gd name="connsiteX1" fmla="*/ 393701 w 942280"/>
                <a:gd name="connsiteY1" fmla="*/ 5020916 h 5186088"/>
                <a:gd name="connsiteX2" fmla="*/ 0 w 942280"/>
                <a:gd name="connsiteY2" fmla="*/ 4936680 h 5186088"/>
                <a:gd name="connsiteX3" fmla="*/ 398463 w 942280"/>
                <a:gd name="connsiteY3" fmla="*/ 4782791 h 5186088"/>
                <a:gd name="connsiteX4" fmla="*/ 403225 w 942280"/>
                <a:gd name="connsiteY4" fmla="*/ 373509 h 5186088"/>
                <a:gd name="connsiteX5" fmla="*/ 764357 w 942280"/>
                <a:gd name="connsiteY5" fmla="*/ 328167 h 5186088"/>
                <a:gd name="connsiteX6" fmla="*/ 404317 w 942280"/>
                <a:gd name="connsiteY6" fmla="*/ 184151 h 5186088"/>
                <a:gd name="connsiteX7" fmla="*/ 404316 w 942280"/>
                <a:gd name="connsiteY7" fmla="*/ 109761 h 5186088"/>
                <a:gd name="connsiteX8" fmla="*/ 942280 w 942280"/>
                <a:gd name="connsiteY8" fmla="*/ 109761 h 5186088"/>
                <a:gd name="connsiteX9" fmla="*/ 942280 w 942280"/>
                <a:gd name="connsiteY9" fmla="*/ 5078090 h 5186088"/>
                <a:gd name="connsiteX10" fmla="*/ 404316 w 942280"/>
                <a:gd name="connsiteY10" fmla="*/ 5078090 h 5186088"/>
                <a:gd name="connsiteX0" fmla="*/ 404316 w 942280"/>
                <a:gd name="connsiteY0" fmla="*/ 5080695 h 5189155"/>
                <a:gd name="connsiteX1" fmla="*/ 393701 w 942280"/>
                <a:gd name="connsiteY1" fmla="*/ 5020916 h 5189155"/>
                <a:gd name="connsiteX2" fmla="*/ 0 w 942280"/>
                <a:gd name="connsiteY2" fmla="*/ 4936680 h 5189155"/>
                <a:gd name="connsiteX3" fmla="*/ 398463 w 942280"/>
                <a:gd name="connsiteY3" fmla="*/ 4782791 h 5189155"/>
                <a:gd name="connsiteX4" fmla="*/ 403225 w 942280"/>
                <a:gd name="connsiteY4" fmla="*/ 373509 h 5189155"/>
                <a:gd name="connsiteX5" fmla="*/ 764357 w 942280"/>
                <a:gd name="connsiteY5" fmla="*/ 328167 h 5189155"/>
                <a:gd name="connsiteX6" fmla="*/ 404317 w 942280"/>
                <a:gd name="connsiteY6" fmla="*/ 184151 h 5189155"/>
                <a:gd name="connsiteX7" fmla="*/ 404316 w 942280"/>
                <a:gd name="connsiteY7" fmla="*/ 109761 h 5189155"/>
                <a:gd name="connsiteX8" fmla="*/ 942280 w 942280"/>
                <a:gd name="connsiteY8" fmla="*/ 109761 h 5189155"/>
                <a:gd name="connsiteX9" fmla="*/ 942280 w 942280"/>
                <a:gd name="connsiteY9" fmla="*/ 5078090 h 5189155"/>
                <a:gd name="connsiteX10" fmla="*/ 404316 w 942280"/>
                <a:gd name="connsiteY10" fmla="*/ 5078090 h 5189155"/>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76620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80695 h 5189154"/>
                <a:gd name="connsiteX1" fmla="*/ 505964 w 1054543"/>
                <a:gd name="connsiteY1" fmla="*/ 5020916 h 5189154"/>
                <a:gd name="connsiteX2" fmla="*/ 0 w 1054543"/>
                <a:gd name="connsiteY2" fmla="*/ 4936679 h 5189154"/>
                <a:gd name="connsiteX3" fmla="*/ 510726 w 1054543"/>
                <a:gd name="connsiteY3" fmla="*/ 4782791 h 5189154"/>
                <a:gd name="connsiteX4" fmla="*/ 515488 w 1054543"/>
                <a:gd name="connsiteY4" fmla="*/ 373509 h 5189154"/>
                <a:gd name="connsiteX5" fmla="*/ 898103 w 1054543"/>
                <a:gd name="connsiteY5" fmla="*/ 328167 h 5189154"/>
                <a:gd name="connsiteX6" fmla="*/ 516580 w 1054543"/>
                <a:gd name="connsiteY6" fmla="*/ 184151 h 5189154"/>
                <a:gd name="connsiteX7" fmla="*/ 516579 w 1054543"/>
                <a:gd name="connsiteY7" fmla="*/ 109761 h 5189154"/>
                <a:gd name="connsiteX8" fmla="*/ 1054543 w 1054543"/>
                <a:gd name="connsiteY8" fmla="*/ 109761 h 5189154"/>
                <a:gd name="connsiteX9" fmla="*/ 1054543 w 1054543"/>
                <a:gd name="connsiteY9" fmla="*/ 5078090 h 5189154"/>
                <a:gd name="connsiteX10" fmla="*/ 516579 w 1054543"/>
                <a:gd name="connsiteY10" fmla="*/ 5078090 h 5189154"/>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54543"/>
                <a:gd name="connsiteY0" fmla="*/ 5050589 h 5159048"/>
                <a:gd name="connsiteX1" fmla="*/ 505964 w 1054543"/>
                <a:gd name="connsiteY1" fmla="*/ 4990810 h 5159048"/>
                <a:gd name="connsiteX2" fmla="*/ 0 w 1054543"/>
                <a:gd name="connsiteY2" fmla="*/ 4906573 h 5159048"/>
                <a:gd name="connsiteX3" fmla="*/ 510726 w 1054543"/>
                <a:gd name="connsiteY3" fmla="*/ 4752685 h 5159048"/>
                <a:gd name="connsiteX4" fmla="*/ 515488 w 1054543"/>
                <a:gd name="connsiteY4" fmla="*/ 343403 h 5159048"/>
                <a:gd name="connsiteX5" fmla="*/ 898103 w 1054543"/>
                <a:gd name="connsiteY5" fmla="*/ 298061 h 5159048"/>
                <a:gd name="connsiteX6" fmla="*/ 516580 w 1054543"/>
                <a:gd name="connsiteY6" fmla="*/ 154045 h 5159048"/>
                <a:gd name="connsiteX7" fmla="*/ 516579 w 1054543"/>
                <a:gd name="connsiteY7" fmla="*/ 79655 h 5159048"/>
                <a:gd name="connsiteX8" fmla="*/ 1054543 w 1054543"/>
                <a:gd name="connsiteY8" fmla="*/ 79655 h 5159048"/>
                <a:gd name="connsiteX9" fmla="*/ 1054543 w 1054543"/>
                <a:gd name="connsiteY9" fmla="*/ 5047984 h 5159048"/>
                <a:gd name="connsiteX10" fmla="*/ 516579 w 1054543"/>
                <a:gd name="connsiteY10" fmla="*/ 5047984 h 5159048"/>
                <a:gd name="connsiteX0" fmla="*/ 516579 w 1070118"/>
                <a:gd name="connsiteY0" fmla="*/ 5044365 h 5152824"/>
                <a:gd name="connsiteX1" fmla="*/ 505964 w 1070118"/>
                <a:gd name="connsiteY1" fmla="*/ 4984586 h 5152824"/>
                <a:gd name="connsiteX2" fmla="*/ 0 w 1070118"/>
                <a:gd name="connsiteY2" fmla="*/ 4900349 h 5152824"/>
                <a:gd name="connsiteX3" fmla="*/ 510726 w 1070118"/>
                <a:gd name="connsiteY3" fmla="*/ 4746461 h 5152824"/>
                <a:gd name="connsiteX4" fmla="*/ 515488 w 1070118"/>
                <a:gd name="connsiteY4" fmla="*/ 337179 h 5152824"/>
                <a:gd name="connsiteX5" fmla="*/ 898103 w 1070118"/>
                <a:gd name="connsiteY5" fmla="*/ 291837 h 5152824"/>
                <a:gd name="connsiteX6" fmla="*/ 516580 w 1070118"/>
                <a:gd name="connsiteY6" fmla="*/ 147821 h 5152824"/>
                <a:gd name="connsiteX7" fmla="*/ 516579 w 1070118"/>
                <a:gd name="connsiteY7" fmla="*/ 73431 h 5152824"/>
                <a:gd name="connsiteX8" fmla="*/ 1054543 w 1070118"/>
                <a:gd name="connsiteY8" fmla="*/ 73431 h 5152824"/>
                <a:gd name="connsiteX9" fmla="*/ 1054543 w 1070118"/>
                <a:gd name="connsiteY9" fmla="*/ 5041760 h 5152824"/>
                <a:gd name="connsiteX10" fmla="*/ 516579 w 1070118"/>
                <a:gd name="connsiteY10" fmla="*/ 5041760 h 5152824"/>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 name="connsiteX0" fmla="*/ 516579 w 1054543"/>
                <a:gd name="connsiteY0" fmla="*/ 5054183 h 5162642"/>
                <a:gd name="connsiteX1" fmla="*/ 505964 w 1054543"/>
                <a:gd name="connsiteY1" fmla="*/ 4994404 h 5162642"/>
                <a:gd name="connsiteX2" fmla="*/ 0 w 1054543"/>
                <a:gd name="connsiteY2" fmla="*/ 4910167 h 5162642"/>
                <a:gd name="connsiteX3" fmla="*/ 510726 w 1054543"/>
                <a:gd name="connsiteY3" fmla="*/ 4756279 h 5162642"/>
                <a:gd name="connsiteX4" fmla="*/ 515488 w 1054543"/>
                <a:gd name="connsiteY4" fmla="*/ 346997 h 5162642"/>
                <a:gd name="connsiteX5" fmla="*/ 898103 w 1054543"/>
                <a:gd name="connsiteY5" fmla="*/ 301655 h 5162642"/>
                <a:gd name="connsiteX6" fmla="*/ 516580 w 1054543"/>
                <a:gd name="connsiteY6" fmla="*/ 157639 h 5162642"/>
                <a:gd name="connsiteX7" fmla="*/ 516579 w 1054543"/>
                <a:gd name="connsiteY7" fmla="*/ 83249 h 5162642"/>
                <a:gd name="connsiteX8" fmla="*/ 1054543 w 1054543"/>
                <a:gd name="connsiteY8" fmla="*/ 83249 h 5162642"/>
                <a:gd name="connsiteX9" fmla="*/ 1054543 w 1054543"/>
                <a:gd name="connsiteY9" fmla="*/ 5051578 h 5162642"/>
                <a:gd name="connsiteX10" fmla="*/ 516579 w 1054543"/>
                <a:gd name="connsiteY10" fmla="*/ 5051578 h 516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4543" h="5162642">
                  <a:moveTo>
                    <a:pt x="516579" y="5054183"/>
                  </a:moveTo>
                  <a:lnTo>
                    <a:pt x="505964" y="4994404"/>
                  </a:lnTo>
                  <a:cubicBezTo>
                    <a:pt x="365487" y="4966325"/>
                    <a:pt x="182597" y="5162642"/>
                    <a:pt x="0" y="4910167"/>
                  </a:cubicBezTo>
                  <a:cubicBezTo>
                    <a:pt x="101858" y="4578169"/>
                    <a:pt x="368661" y="4807575"/>
                    <a:pt x="510726" y="4756279"/>
                  </a:cubicBezTo>
                  <a:cubicBezTo>
                    <a:pt x="510544" y="3971748"/>
                    <a:pt x="454506" y="1089434"/>
                    <a:pt x="515488" y="346997"/>
                  </a:cubicBezTo>
                  <a:cubicBezTo>
                    <a:pt x="645783" y="336296"/>
                    <a:pt x="811401" y="489209"/>
                    <a:pt x="898103" y="301655"/>
                  </a:cubicBezTo>
                  <a:cubicBezTo>
                    <a:pt x="910891" y="0"/>
                    <a:pt x="637075" y="181302"/>
                    <a:pt x="516580" y="157639"/>
                  </a:cubicBezTo>
                  <a:cubicBezTo>
                    <a:pt x="516943" y="142748"/>
                    <a:pt x="516216" y="98140"/>
                    <a:pt x="516579" y="83249"/>
                  </a:cubicBezTo>
                  <a:lnTo>
                    <a:pt x="1054543" y="83249"/>
                  </a:lnTo>
                  <a:lnTo>
                    <a:pt x="1054543" y="5051578"/>
                  </a:lnTo>
                  <a:lnTo>
                    <a:pt x="516579" y="5051578"/>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54000" tIns="54000" rIns="54000" bIns="54000" rtlCol="0" anchor="t"/>
            <a:lstStyle/>
            <a:p>
              <a:pPr algn="ctr"/>
              <a:r>
                <a:rPr lang="en-US" sz="900" b="1" dirty="0" smtClean="0"/>
                <a:t>Market and competitive analysis</a:t>
              </a:r>
              <a:r>
                <a:rPr lang="en-US" sz="900" b="1" baseline="30000" dirty="0" smtClean="0"/>
                <a:t>(a)</a:t>
              </a:r>
              <a:endParaRPr lang="en-US" sz="900" b="1" baseline="30000" dirty="0"/>
            </a:p>
          </p:txBody>
        </p:sp>
        <p:sp>
          <p:nvSpPr>
            <p:cNvPr id="130" name="Textfeld 16"/>
            <p:cNvSpPr txBox="1"/>
            <p:nvPr/>
          </p:nvSpPr>
          <p:spPr>
            <a:xfrm>
              <a:off x="6825208" y="3068960"/>
              <a:ext cx="1152128" cy="507831"/>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Capacities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needed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for sales</a:t>
              </a:r>
              <a:r>
                <a:rPr lang="en-US" sz="900" baseline="30000" dirty="0" smtClean="0">
                  <a:solidFill>
                    <a:schemeClr val="bg1"/>
                  </a:solidFill>
                  <a:latin typeface="Arial" pitchFamily="34" charset="0"/>
                  <a:cs typeface="Arial" pitchFamily="34" charset="0"/>
                </a:rPr>
                <a:t>(d)</a:t>
              </a:r>
              <a:endParaRPr lang="en-US" sz="900" baseline="30000" dirty="0">
                <a:solidFill>
                  <a:schemeClr val="bg1"/>
                </a:solidFill>
                <a:latin typeface="Arial" pitchFamily="34" charset="0"/>
                <a:cs typeface="Arial" pitchFamily="34" charset="0"/>
              </a:endParaRPr>
            </a:p>
          </p:txBody>
        </p:sp>
        <p:sp>
          <p:nvSpPr>
            <p:cNvPr id="131" name="Textfeld 16"/>
            <p:cNvSpPr txBox="1"/>
            <p:nvPr/>
          </p:nvSpPr>
          <p:spPr>
            <a:xfrm>
              <a:off x="6878167" y="4116730"/>
              <a:ext cx="1152128"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Financing available</a:t>
              </a:r>
              <a:r>
                <a:rPr lang="en-US" sz="900" baseline="30000" dirty="0" smtClean="0">
                  <a:solidFill>
                    <a:schemeClr val="bg1"/>
                  </a:solidFill>
                  <a:latin typeface="Arial" pitchFamily="34" charset="0"/>
                  <a:cs typeface="Arial" pitchFamily="34" charset="0"/>
                </a:rPr>
                <a:t>(e)</a:t>
              </a:r>
              <a:endParaRPr lang="en-US" sz="900" baseline="30000" dirty="0">
                <a:solidFill>
                  <a:schemeClr val="bg1"/>
                </a:solidFill>
                <a:latin typeface="Arial" pitchFamily="34" charset="0"/>
                <a:cs typeface="Arial" pitchFamily="34" charset="0"/>
              </a:endParaRPr>
            </a:p>
          </p:txBody>
        </p:sp>
        <p:sp>
          <p:nvSpPr>
            <p:cNvPr id="132" name="Textfeld 16"/>
            <p:cNvSpPr txBox="1"/>
            <p:nvPr/>
          </p:nvSpPr>
          <p:spPr>
            <a:xfrm>
              <a:off x="4284273" y="2793237"/>
              <a:ext cx="1170327" cy="369332"/>
            </a:xfrm>
            <a:prstGeom prst="rect">
              <a:avLst/>
            </a:prstGeom>
            <a:noFill/>
            <a:ln w="25400">
              <a:noFill/>
            </a:ln>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smtClean="0">
                  <a:solidFill>
                    <a:schemeClr val="bg1"/>
                  </a:solidFill>
                  <a:latin typeface="Arial" pitchFamily="34" charset="0"/>
                  <a:cs typeface="Arial" pitchFamily="34" charset="0"/>
                </a:rPr>
                <a:t>Material </a:t>
              </a:r>
              <a:br>
                <a:rPr lang="en-US" sz="900" dirty="0" smtClean="0">
                  <a:solidFill>
                    <a:schemeClr val="bg1"/>
                  </a:solidFill>
                  <a:latin typeface="Arial" pitchFamily="34" charset="0"/>
                  <a:cs typeface="Arial" pitchFamily="34" charset="0"/>
                </a:rPr>
              </a:br>
              <a:r>
                <a:rPr lang="en-US" sz="900" dirty="0" smtClean="0">
                  <a:solidFill>
                    <a:schemeClr val="bg1"/>
                  </a:solidFill>
                  <a:latin typeface="Arial" pitchFamily="34" charset="0"/>
                  <a:cs typeface="Arial" pitchFamily="34" charset="0"/>
                </a:rPr>
                <a:t>projects</a:t>
              </a:r>
              <a:endParaRPr lang="en-US" sz="900" dirty="0">
                <a:solidFill>
                  <a:schemeClr val="bg1"/>
                </a:solidFill>
                <a:latin typeface="Arial" pitchFamily="34" charset="0"/>
                <a:cs typeface="Arial" pitchFamily="34" charset="0"/>
              </a:endParaRPr>
            </a:p>
          </p:txBody>
        </p:sp>
      </p:grpSp>
    </p:spTree>
    <p:extLst>
      <p:ext uri="{BB962C8B-B14F-4D97-AF65-F5344CB8AC3E}">
        <p14:creationId xmlns:p14="http://schemas.microsoft.com/office/powerpoint/2010/main" val="37344712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vestment </a:t>
            </a:r>
            <a:r>
              <a:rPr lang="en-US" dirty="0"/>
              <a:t>(Planning) </a:t>
            </a:r>
          </a:p>
        </p:txBody>
      </p:sp>
      <p:sp>
        <p:nvSpPr>
          <p:cNvPr id="4" name="Titel 3"/>
          <p:cNvSpPr>
            <a:spLocks noGrp="1"/>
          </p:cNvSpPr>
          <p:nvPr>
            <p:ph type="title"/>
          </p:nvPr>
        </p:nvSpPr>
        <p:spPr/>
        <p:txBody>
          <a:bodyPr/>
          <a:lstStyle/>
          <a:p>
            <a:r>
              <a:rPr lang="en-US" dirty="0" smtClean="0"/>
              <a:t>Overview (3/4) – Pitfall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186995563"/>
              </p:ext>
            </p:extLst>
          </p:nvPr>
        </p:nvGraphicFramePr>
        <p:xfrm>
          <a:off x="488950" y="1422400"/>
          <a:ext cx="8928100" cy="4083832"/>
        </p:xfrm>
        <a:graphic>
          <a:graphicData uri="http://schemas.openxmlformats.org/drawingml/2006/table">
            <a:tbl>
              <a:tblPr firstRow="1" bandRow="1">
                <a:tableStyleId>{5C22544A-7EE6-4342-B048-85BDC9FD1C3A}</a:tableStyleId>
              </a:tblPr>
              <a:tblGrid>
                <a:gridCol w="625475"/>
                <a:gridCol w="8302625"/>
              </a:tblGrid>
              <a:tr h="28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No.</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itfalls/Lessons learned</a:t>
                      </a:r>
                    </a:p>
                  </a:txBody>
                  <a:tcPr marL="54000" marR="54000" marT="54000" marB="5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648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Comparability: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With the analysis of the past and planning as well as the benchmarking of the planning in the market and competitive environment/peer group, the general comparability of the parameters analyzed is to be assured, if necessary by means of adjustments/transitions.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Differences may be found in:</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delineation</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Differences in financial reporting standards or utilization of accounting options (e.g. presentation as expenses vs. capitalization and depreciation)</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fundamental desig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nd arrangement of economically identical/similar issues: Various measures for achieving the same economic result (e.g. acquisition vs. leasing/rental)</a:t>
                      </a:r>
                    </a:p>
                    <a:p>
                      <a:pPr marL="360000" marR="0" lvl="1" indent="-144000" algn="l" defTabSz="914400" rtl="0" eaLnBrk="1" fontAlgn="auto" latinLnBrk="0" hangingPunct="1">
                        <a:lnSpc>
                          <a:spcPct val="95000"/>
                        </a:lnSpc>
                        <a:spcBef>
                          <a:spcPts val="0"/>
                        </a:spcBef>
                        <a:spcAft>
                          <a:spcPts val="2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The </a:t>
                      </a: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iming</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 Companies frequently find themselves at different times of an investment cycle. The analysis/comparative period should cover a complete investment cycle and, if needed, focus on average investment. </a:t>
                      </a:r>
                    </a:p>
                    <a:p>
                      <a:pPr marL="216000" marR="0" lvl="0" indent="-216000" algn="l" defTabSz="914400" rtl="0" eaLnBrk="1" fontAlgn="auto" latinLnBrk="0" hangingPunct="1">
                        <a:lnSpc>
                          <a:spcPct val="95000"/>
                        </a:lnSpc>
                        <a:spcBef>
                          <a:spcPts val="0"/>
                        </a:spcBef>
                        <a:spcAft>
                          <a:spcPts val="2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A lack of complete comparability (e.g. lack of information about the impact of options, etc. with peers that appear to be material) is to be mentioned and appropriately recognized (e.g. “only limited validit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dirty="0" smtClean="0">
                          <a:ln>
                            <a:noFill/>
                          </a:ln>
                          <a:solidFill>
                            <a:srgbClr val="000000"/>
                          </a:solidFill>
                          <a:effectLst/>
                          <a:uLnTx/>
                          <a:uFillTx/>
                          <a:latin typeface="+mn-lt"/>
                          <a:ea typeface="+mn-ea"/>
                          <a:cs typeface="Arial" pitchFamily="34" charset="0"/>
                        </a:rPr>
                        <a:t>Planning depth: </a:t>
                      </a:r>
                      <a:r>
                        <a:rPr kumimoji="0" lang="en-US" sz="900" b="0" i="0" u="none" strike="noStrike" kern="1200" cap="none" spc="0" normalizeH="0" baseline="0" dirty="0" smtClean="0">
                          <a:ln>
                            <a:noFill/>
                          </a:ln>
                          <a:solidFill>
                            <a:srgbClr val="000000"/>
                          </a:solidFill>
                          <a:effectLst/>
                          <a:uLnTx/>
                          <a:uFillTx/>
                          <a:latin typeface="+mn-lt"/>
                          <a:ea typeface="+mn-ea"/>
                          <a:cs typeface="Arial" pitchFamily="34" charset="0"/>
                        </a:rPr>
                        <a:t>Frequently, the first planning year (budget) is detailed and therefore planned realistically or even conservatively because other processes are based on them (remuneration, metrics, target attainment) and measurement can be made promptly (current trading). Subsequent planning years are generally not included here and are frequently based on a reduced depth of the planning assumptions. They are often planned generally, frequently much “more fancifully” (higher growth, increase in margins) (similar to a strategic outlook) and therefore should be viewed more critically.</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lang="en-US" sz="900" b="1" dirty="0" smtClean="0">
                          <a:solidFill>
                            <a:srgbClr val="000000"/>
                          </a:solidFill>
                          <a:latin typeface="+mn-lt"/>
                        </a:rPr>
                        <a:t>Cyclical nature: </a:t>
                      </a:r>
                      <a:r>
                        <a:rPr lang="en-US" sz="900" b="0" dirty="0" smtClean="0">
                          <a:solidFill>
                            <a:srgbClr val="000000"/>
                          </a:solidFill>
                          <a:latin typeface="+mn-lt"/>
                        </a:rPr>
                        <a:t>Frequently companies invest in more or less strongly pronounced cycles. Especially in cases of long investment cycles (e.g. power plants, chemical plants, etc.) the assessment of the current status of the existing plant and an estimation of the necessity and timing of major investment is material (length of planning horizon sufficient? </a:t>
                      </a:r>
                      <a:r>
                        <a:rPr lang="en-US" sz="900" b="0" dirty="0" smtClean="0">
                          <a:solidFill>
                            <a:srgbClr val="000000"/>
                          </a:solidFill>
                          <a:latin typeface="+mn-lt"/>
                          <a:sym typeface="Wingdings" panose="05000000000000000000" pitchFamily="2" charset="2"/>
                        </a:rPr>
                        <a:t></a:t>
                      </a:r>
                      <a:r>
                        <a:rPr lang="en-US" sz="900" b="0" dirty="0" smtClean="0">
                          <a:solidFill>
                            <a:srgbClr val="000000"/>
                          </a:solidFill>
                          <a:latin typeface="+mn-lt"/>
                        </a:rPr>
                        <a:t> see Sustainable Result workbook)</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684000">
                <a:tc>
                  <a:txBody>
                    <a:bodyPr/>
                    <a:lstStyle/>
                    <a:p>
                      <a:pPr marL="1588" marR="0" lvl="0" indent="-1588" algn="l" defTabSz="914400" rtl="0" eaLnBrk="1" fontAlgn="auto" latinLnBrk="0" hangingPunct="1">
                        <a:lnSpc>
                          <a:spcPct val="95000"/>
                        </a:lnSpc>
                        <a:spcBef>
                          <a:spcPts val="0"/>
                        </a:spcBef>
                        <a:spcAft>
                          <a:spcPts val="0"/>
                        </a:spcAft>
                        <a:buClr>
                          <a:srgbClr val="97989A"/>
                        </a:buClr>
                        <a:buSzPct val="100000"/>
                        <a:buFontTx/>
                        <a:buNone/>
                        <a:tabLst/>
                        <a:defRPr/>
                      </a:pPr>
                      <a:endPar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16000" marR="0" lvl="0" indent="-216000" algn="l" defTabSz="914400" rtl="0" eaLnBrk="1" fontAlgn="auto" latinLnBrk="0" hangingPunct="1">
                        <a:lnSpc>
                          <a:spcPct val="95000"/>
                        </a:lnSpc>
                        <a:spcBef>
                          <a:spcPts val="0"/>
                        </a:spcBef>
                        <a:spcAft>
                          <a:spcPts val="400"/>
                        </a:spcAft>
                        <a:buClr>
                          <a:schemeClr val="tx2"/>
                        </a:buClr>
                        <a:buSzPct val="100000"/>
                        <a:buFont typeface="Univers for KPMG Light" panose="020B0403020202020204" pitchFamily="34" charset="0"/>
                        <a:buChar char="—"/>
                        <a:tabLst/>
                        <a:defRPr/>
                      </a:pPr>
                      <a:r>
                        <a:rPr kumimoji="0" lang="en-US" sz="900" b="1" i="0" u="none" strike="noStrike" kern="1200" cap="none" spc="0" normalizeH="0" baseline="0" noProof="0" dirty="0" smtClean="0">
                          <a:ln>
                            <a:noFill/>
                          </a:ln>
                          <a:solidFill>
                            <a:srgbClr val="000000"/>
                          </a:solidFill>
                          <a:effectLst/>
                          <a:uLnTx/>
                          <a:uFillTx/>
                          <a:latin typeface="+mn-lt"/>
                          <a:ea typeface="+mn-ea"/>
                          <a:cs typeface="Arial" pitchFamily="34" charset="0"/>
                        </a:rPr>
                        <a:t>Transition actual to plan: </a:t>
                      </a:r>
                      <a:r>
                        <a:rPr kumimoji="0" lang="en-US" sz="900" b="0" i="0" u="none" strike="noStrike" kern="1200" cap="none" spc="0" normalizeH="0" baseline="0" noProof="0" dirty="0" smtClean="0">
                          <a:ln>
                            <a:noFill/>
                          </a:ln>
                          <a:solidFill>
                            <a:srgbClr val="000000"/>
                          </a:solidFill>
                          <a:effectLst/>
                          <a:uLnTx/>
                          <a:uFillTx/>
                          <a:latin typeface="+mn-lt"/>
                          <a:ea typeface="+mn-ea"/>
                          <a:cs typeface="Arial" pitchFamily="34" charset="0"/>
                        </a:rPr>
                        <a:t>Frequently, the first planning year/budget is not based on audited results from the previous actual year, but rather on a forecast/extrapolation for the previous actual year. Frequently, the audited results and forecast/extrapolation for the previous actual year deviate from one another. Differences may then occur between the previous actual year and first planning year/budget that may have to be adjusted in case of relevance (adjustment of planning, P&amp;L and balance sheet). E.g. a change in assets or depreciation due to the audit of the financial statement lead to a change of the investment assumption in the first planning year if the book value of assets in the first planning year is not adjusted.</a:t>
                      </a:r>
                    </a:p>
                  </a:txBody>
                  <a:tcPr marL="54000" marR="54000" marT="54000" marB="5400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r>
            </a:tbl>
          </a:graphicData>
        </a:graphic>
      </p:graphicFrame>
      <p:grpSp>
        <p:nvGrpSpPr>
          <p:cNvPr id="52" name="Gruppieren 51"/>
          <p:cNvGrpSpPr/>
          <p:nvPr/>
        </p:nvGrpSpPr>
        <p:grpSpPr>
          <a:xfrm>
            <a:off x="607685" y="1794656"/>
            <a:ext cx="371794" cy="461665"/>
            <a:chOff x="2619016" y="2564904"/>
            <a:chExt cx="559665" cy="694949"/>
          </a:xfrm>
        </p:grpSpPr>
        <p:grpSp>
          <p:nvGrpSpPr>
            <p:cNvPr id="53" name="Gruppieren 52"/>
            <p:cNvGrpSpPr/>
            <p:nvPr/>
          </p:nvGrpSpPr>
          <p:grpSpPr>
            <a:xfrm>
              <a:off x="2619016" y="2617334"/>
              <a:ext cx="559665" cy="561552"/>
              <a:chOff x="5484264" y="4001307"/>
              <a:chExt cx="1409320" cy="1414073"/>
            </a:xfrm>
          </p:grpSpPr>
          <p:sp>
            <p:nvSpPr>
              <p:cNvPr id="55" name="Ellipse 54"/>
              <p:cNvSpPr/>
              <p:nvPr/>
            </p:nvSpPr>
            <p:spPr>
              <a:xfrm>
                <a:off x="5484264" y="4008400"/>
                <a:ext cx="1399886" cy="1399886"/>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6" name="Akkord 55"/>
              <p:cNvSpPr/>
              <p:nvPr/>
            </p:nvSpPr>
            <p:spPr>
              <a:xfrm>
                <a:off x="5494802" y="4001307"/>
                <a:ext cx="1389699" cy="1406979"/>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7" name="Akkord 56"/>
              <p:cNvSpPr/>
              <p:nvPr/>
            </p:nvSpPr>
            <p:spPr>
              <a:xfrm>
                <a:off x="5486603" y="4008401"/>
                <a:ext cx="1406981" cy="1406979"/>
              </a:xfrm>
              <a:prstGeom prst="chord">
                <a:avLst>
                  <a:gd name="adj1" fmla="val 5823043"/>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8" name="Rechteck 57"/>
              <p:cNvSpPr/>
              <p:nvPr/>
            </p:nvSpPr>
            <p:spPr>
              <a:xfrm>
                <a:off x="5793877" y="4182560"/>
                <a:ext cx="479924" cy="99396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59" name="Akkord 58"/>
              <p:cNvSpPr/>
              <p:nvPr/>
            </p:nvSpPr>
            <p:spPr>
              <a:xfrm rot="18900000">
                <a:off x="5614173" y="4335770"/>
                <a:ext cx="1078035" cy="1078036"/>
              </a:xfrm>
              <a:prstGeom prst="chord">
                <a:avLst>
                  <a:gd name="adj1" fmla="val 7704689"/>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grpSp>
        <p:sp>
          <p:nvSpPr>
            <p:cNvPr id="54" name="Rechteck 53"/>
            <p:cNvSpPr/>
            <p:nvPr/>
          </p:nvSpPr>
          <p:spPr>
            <a:xfrm>
              <a:off x="2628888" y="2564904"/>
              <a:ext cx="536173" cy="694949"/>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0" name="Gruppieren 59"/>
          <p:cNvGrpSpPr/>
          <p:nvPr/>
        </p:nvGrpSpPr>
        <p:grpSpPr>
          <a:xfrm>
            <a:off x="607686" y="3493131"/>
            <a:ext cx="371793" cy="461665"/>
            <a:chOff x="3638116" y="2564904"/>
            <a:chExt cx="559663" cy="694947"/>
          </a:xfrm>
        </p:grpSpPr>
        <p:sp>
          <p:nvSpPr>
            <p:cNvPr id="61" name="Ellipse 60"/>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2" name="Akkord 61"/>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3" name="Akkord 62"/>
            <p:cNvSpPr/>
            <p:nvPr/>
          </p:nvSpPr>
          <p:spPr>
            <a:xfrm>
              <a:off x="3640454" y="2620151"/>
              <a:ext cx="557325" cy="558735"/>
            </a:xfrm>
            <a:prstGeom prst="chord">
              <a:avLst>
                <a:gd name="adj1" fmla="val 7085818"/>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4" name="Rechteck 65"/>
            <p:cNvSpPr/>
            <p:nvPr/>
          </p:nvSpPr>
          <p:spPr>
            <a:xfrm>
              <a:off x="3757158" y="2689313"/>
              <a:ext cx="241338" cy="396623"/>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338" h="396623">
                  <a:moveTo>
                    <a:pt x="0" y="0"/>
                  </a:moveTo>
                  <a:lnTo>
                    <a:pt x="241338" y="15240"/>
                  </a:lnTo>
                  <a:lnTo>
                    <a:pt x="106083" y="39662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5" name="Akkord 64"/>
            <p:cNvSpPr/>
            <p:nvPr/>
          </p:nvSpPr>
          <p:spPr>
            <a:xfrm rot="18368769">
              <a:off x="3698246" y="2810255"/>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66" name="Rechteck 65"/>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67" name="Gruppieren 66"/>
          <p:cNvGrpSpPr/>
          <p:nvPr/>
        </p:nvGrpSpPr>
        <p:grpSpPr>
          <a:xfrm>
            <a:off x="607686" y="4166272"/>
            <a:ext cx="371793" cy="461665"/>
            <a:chOff x="3638116" y="2564904"/>
            <a:chExt cx="559663" cy="694947"/>
          </a:xfrm>
        </p:grpSpPr>
        <p:sp>
          <p:nvSpPr>
            <p:cNvPr id="68" name="Ellipse 6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69" name="Akkord 6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1" name="Akkord 70"/>
            <p:cNvSpPr/>
            <p:nvPr/>
          </p:nvSpPr>
          <p:spPr>
            <a:xfrm>
              <a:off x="3640454" y="2620151"/>
              <a:ext cx="557325" cy="558735"/>
            </a:xfrm>
            <a:prstGeom prst="chord">
              <a:avLst>
                <a:gd name="adj1" fmla="val 7100192"/>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2" name="Rechteck 65"/>
            <p:cNvSpPr/>
            <p:nvPr/>
          </p:nvSpPr>
          <p:spPr>
            <a:xfrm>
              <a:off x="3757158" y="2689313"/>
              <a:ext cx="207048" cy="394718"/>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201333" y="377573"/>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3" name="Akkord 72"/>
            <p:cNvSpPr/>
            <p:nvPr/>
          </p:nvSpPr>
          <p:spPr>
            <a:xfrm rot="17881290">
              <a:off x="3719201" y="2819781"/>
              <a:ext cx="289630" cy="395898"/>
            </a:xfrm>
            <a:prstGeom prst="chord">
              <a:avLst>
                <a:gd name="adj1" fmla="val 8195005"/>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74" name="Rechteck 73"/>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grpSp>
      <p:grpSp>
        <p:nvGrpSpPr>
          <p:cNvPr id="27" name="Gruppieren 26"/>
          <p:cNvGrpSpPr/>
          <p:nvPr/>
        </p:nvGrpSpPr>
        <p:grpSpPr>
          <a:xfrm>
            <a:off x="602331" y="4899402"/>
            <a:ext cx="371793" cy="461665"/>
            <a:chOff x="3638116" y="2564904"/>
            <a:chExt cx="559663" cy="694947"/>
          </a:xfrm>
        </p:grpSpPr>
        <p:sp>
          <p:nvSpPr>
            <p:cNvPr id="28" name="Ellipse 27"/>
            <p:cNvSpPr/>
            <p:nvPr/>
          </p:nvSpPr>
          <p:spPr>
            <a:xfrm>
              <a:off x="3638116" y="2620151"/>
              <a:ext cx="555919" cy="555918"/>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29" name="Akkord 28"/>
            <p:cNvSpPr/>
            <p:nvPr/>
          </p:nvSpPr>
          <p:spPr>
            <a:xfrm>
              <a:off x="3642301" y="2617334"/>
              <a:ext cx="551874" cy="558735"/>
            </a:xfrm>
            <a:prstGeom prst="chord">
              <a:avLst>
                <a:gd name="adj1" fmla="val 1322577"/>
                <a:gd name="adj2" fmla="val 154407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0" name="Akkord 29"/>
            <p:cNvSpPr/>
            <p:nvPr/>
          </p:nvSpPr>
          <p:spPr>
            <a:xfrm>
              <a:off x="3640454" y="2620151"/>
              <a:ext cx="557325" cy="558735"/>
            </a:xfrm>
            <a:prstGeom prst="chord">
              <a:avLst>
                <a:gd name="adj1" fmla="val 7372660"/>
                <a:gd name="adj2" fmla="val 1660359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1" name="Rechteck 65"/>
            <p:cNvSpPr/>
            <p:nvPr/>
          </p:nvSpPr>
          <p:spPr>
            <a:xfrm>
              <a:off x="3757158" y="2689313"/>
              <a:ext cx="207048" cy="307639"/>
            </a:xfrm>
            <a:custGeom>
              <a:avLst/>
              <a:gdLst>
                <a:gd name="connsiteX0" fmla="*/ 0 w 195618"/>
                <a:gd name="connsiteY0" fmla="*/ 0 h 394718"/>
                <a:gd name="connsiteX1" fmla="*/ 195618 w 195618"/>
                <a:gd name="connsiteY1" fmla="*/ 0 h 394718"/>
                <a:gd name="connsiteX2" fmla="*/ 195618 w 195618"/>
                <a:gd name="connsiteY2" fmla="*/ 394718 h 394718"/>
                <a:gd name="connsiteX3" fmla="*/ 0 w 195618"/>
                <a:gd name="connsiteY3" fmla="*/ 394718 h 394718"/>
                <a:gd name="connsiteX4" fmla="*/ 0 w 195618"/>
                <a:gd name="connsiteY4" fmla="*/ 0 h 394718"/>
                <a:gd name="connsiteX0" fmla="*/ 0 w 195618"/>
                <a:gd name="connsiteY0" fmla="*/ 0 h 394718"/>
                <a:gd name="connsiteX1" fmla="*/ 195618 w 195618"/>
                <a:gd name="connsiteY1" fmla="*/ 0 h 394718"/>
                <a:gd name="connsiteX2" fmla="*/ 130848 w 195618"/>
                <a:gd name="connsiteY2" fmla="*/ 394718 h 394718"/>
                <a:gd name="connsiteX3" fmla="*/ 0 w 195618"/>
                <a:gd name="connsiteY3" fmla="*/ 394718 h 394718"/>
                <a:gd name="connsiteX4" fmla="*/ 0 w 195618"/>
                <a:gd name="connsiteY4" fmla="*/ 0 h 394718"/>
                <a:gd name="connsiteX0" fmla="*/ 0 w 195618"/>
                <a:gd name="connsiteY0" fmla="*/ 0 h 396623"/>
                <a:gd name="connsiteX1" fmla="*/ 195618 w 195618"/>
                <a:gd name="connsiteY1" fmla="*/ 0 h 396623"/>
                <a:gd name="connsiteX2" fmla="*/ 106083 w 195618"/>
                <a:gd name="connsiteY2" fmla="*/ 396623 h 396623"/>
                <a:gd name="connsiteX3" fmla="*/ 0 w 195618"/>
                <a:gd name="connsiteY3" fmla="*/ 394718 h 396623"/>
                <a:gd name="connsiteX4" fmla="*/ 0 w 195618"/>
                <a:gd name="connsiteY4" fmla="*/ 0 h 396623"/>
                <a:gd name="connsiteX0" fmla="*/ 0 w 241338"/>
                <a:gd name="connsiteY0" fmla="*/ 0 h 396623"/>
                <a:gd name="connsiteX1" fmla="*/ 241338 w 241338"/>
                <a:gd name="connsiteY1" fmla="*/ 15240 h 396623"/>
                <a:gd name="connsiteX2" fmla="*/ 106083 w 241338"/>
                <a:gd name="connsiteY2" fmla="*/ 396623 h 396623"/>
                <a:gd name="connsiteX3" fmla="*/ 0 w 241338"/>
                <a:gd name="connsiteY3" fmla="*/ 394718 h 396623"/>
                <a:gd name="connsiteX4" fmla="*/ 0 w 241338"/>
                <a:gd name="connsiteY4" fmla="*/ 0 h 396623"/>
                <a:gd name="connsiteX0" fmla="*/ 0 w 241338"/>
                <a:gd name="connsiteY0" fmla="*/ 0 h 394718"/>
                <a:gd name="connsiteX1" fmla="*/ 241338 w 241338"/>
                <a:gd name="connsiteY1" fmla="*/ 15240 h 394718"/>
                <a:gd name="connsiteX2" fmla="*/ 201333 w 241338"/>
                <a:gd name="connsiteY2" fmla="*/ 377573 h 394718"/>
                <a:gd name="connsiteX3" fmla="*/ 0 w 241338"/>
                <a:gd name="connsiteY3" fmla="*/ 394718 h 394718"/>
                <a:gd name="connsiteX4" fmla="*/ 0 w 241338"/>
                <a:gd name="connsiteY4" fmla="*/ 0 h 394718"/>
                <a:gd name="connsiteX0" fmla="*/ 0 w 207048"/>
                <a:gd name="connsiteY0" fmla="*/ 0 h 394718"/>
                <a:gd name="connsiteX1" fmla="*/ 207048 w 207048"/>
                <a:gd name="connsiteY1" fmla="*/ 15240 h 394718"/>
                <a:gd name="connsiteX2" fmla="*/ 201333 w 207048"/>
                <a:gd name="connsiteY2" fmla="*/ 377573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15608 w 207048"/>
                <a:gd name="connsiteY2" fmla="*/ 248029 h 394718"/>
                <a:gd name="connsiteX3" fmla="*/ 0 w 207048"/>
                <a:gd name="connsiteY3" fmla="*/ 394718 h 394718"/>
                <a:gd name="connsiteX4" fmla="*/ 0 w 207048"/>
                <a:gd name="connsiteY4" fmla="*/ 0 h 394718"/>
                <a:gd name="connsiteX0" fmla="*/ 0 w 207048"/>
                <a:gd name="connsiteY0" fmla="*/ 0 h 394718"/>
                <a:gd name="connsiteX1" fmla="*/ 207048 w 207048"/>
                <a:gd name="connsiteY1" fmla="*/ 15240 h 394718"/>
                <a:gd name="connsiteX2" fmla="*/ 186093 w 207048"/>
                <a:gd name="connsiteY2" fmla="*/ 372684 h 394718"/>
                <a:gd name="connsiteX3" fmla="*/ 0 w 207048"/>
                <a:gd name="connsiteY3" fmla="*/ 394718 h 394718"/>
                <a:gd name="connsiteX4" fmla="*/ 0 w 207048"/>
                <a:gd name="connsiteY4" fmla="*/ 0 h 394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48" h="394718">
                  <a:moveTo>
                    <a:pt x="0" y="0"/>
                  </a:moveTo>
                  <a:lnTo>
                    <a:pt x="207048" y="15240"/>
                  </a:lnTo>
                  <a:lnTo>
                    <a:pt x="186093" y="372684"/>
                  </a:lnTo>
                  <a:lnTo>
                    <a:pt x="0" y="394718"/>
                  </a:lnTo>
                  <a:lnTo>
                    <a:pt x="0" y="0"/>
                  </a:lnTo>
                  <a:close/>
                </a:path>
              </a:pathLst>
            </a:cu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2" name="Akkord 31"/>
            <p:cNvSpPr/>
            <p:nvPr/>
          </p:nvSpPr>
          <p:spPr>
            <a:xfrm rot="18067763">
              <a:off x="3698817" y="2799067"/>
              <a:ext cx="342480" cy="395898"/>
            </a:xfrm>
            <a:prstGeom prst="chord">
              <a:avLst>
                <a:gd name="adj1" fmla="val 8195005"/>
                <a:gd name="adj2" fmla="val 16830392"/>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3" name="Rechteck 32"/>
            <p:cNvSpPr/>
            <p:nvPr/>
          </p:nvSpPr>
          <p:spPr>
            <a:xfrm>
              <a:off x="3647988" y="2564904"/>
              <a:ext cx="536173" cy="694947"/>
            </a:xfrm>
            <a:prstGeom prst="rect">
              <a:avLst/>
            </a:prstGeom>
          </p:spPr>
          <p:txBody>
            <a:bodyPr wrap="none">
              <a:spAutoFit/>
            </a:bodyPr>
            <a:lstStyle/>
            <a:p>
              <a:pPr algn="ctr"/>
              <a:r>
                <a:rPr lang="en-US" sz="2400" b="1" dirty="0" smtClean="0">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053686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1"/>
          </p:nvPr>
        </p:nvSpPr>
        <p:spPr/>
        <p:txBody>
          <a:bodyPr/>
          <a:lstStyle/>
          <a:p>
            <a:r>
              <a:rPr lang="en-US" dirty="0" smtClean="0"/>
              <a:t>Investment </a:t>
            </a:r>
            <a:r>
              <a:rPr lang="en-US" dirty="0"/>
              <a:t>(Planning) </a:t>
            </a:r>
          </a:p>
        </p:txBody>
      </p:sp>
      <p:sp>
        <p:nvSpPr>
          <p:cNvPr id="4" name="Titel 3"/>
          <p:cNvSpPr>
            <a:spLocks noGrp="1"/>
          </p:cNvSpPr>
          <p:nvPr>
            <p:ph type="title"/>
          </p:nvPr>
        </p:nvSpPr>
        <p:spPr/>
        <p:txBody>
          <a:bodyPr/>
          <a:lstStyle/>
          <a:p>
            <a:r>
              <a:rPr lang="en-US" dirty="0" smtClean="0"/>
              <a:t>Overview (4/4) – Core issues</a:t>
            </a:r>
            <a:endParaRPr lang="en-US" dirty="0"/>
          </a:p>
        </p:txBody>
      </p:sp>
      <p:graphicFrame>
        <p:nvGraphicFramePr>
          <p:cNvPr id="70" name="Tabelle 69"/>
          <p:cNvGraphicFramePr>
            <a:graphicFrameLocks noGrp="1"/>
          </p:cNvGraphicFramePr>
          <p:nvPr>
            <p:extLst>
              <p:ext uri="{D42A27DB-BD31-4B8C-83A1-F6EECF244321}">
                <p14:modId xmlns:p14="http://schemas.microsoft.com/office/powerpoint/2010/main" val="1375435113"/>
              </p:ext>
            </p:extLst>
          </p:nvPr>
        </p:nvGraphicFramePr>
        <p:xfrm>
          <a:off x="488950" y="1422400"/>
          <a:ext cx="8928100" cy="4608138"/>
        </p:xfrm>
        <a:graphic>
          <a:graphicData uri="http://schemas.openxmlformats.org/drawingml/2006/table">
            <a:tbl>
              <a:tblPr firstRow="1" bandRow="1">
                <a:tableStyleId>{5C22544A-7EE6-4342-B048-85BDC9FD1C3A}</a:tableStyleId>
              </a:tblPr>
              <a:tblGrid>
                <a:gridCol w="2403719"/>
                <a:gridCol w="5946531"/>
                <a:gridCol w="577850"/>
              </a:tblGrid>
              <a:tr h="288000">
                <a:tc>
                  <a:txBody>
                    <a:bodyPr/>
                    <a:lstStyle/>
                    <a:p>
                      <a:pPr marL="0" indent="0">
                        <a:lnSpc>
                          <a:spcPct val="95000"/>
                        </a:lnSpc>
                        <a:spcBef>
                          <a:spcPts val="0"/>
                        </a:spcBef>
                        <a:spcAft>
                          <a:spcPts val="0"/>
                        </a:spcAft>
                        <a:buNone/>
                        <a:tabLst>
                          <a:tab pos="176213" algn="l"/>
                        </a:tabLst>
                      </a:pPr>
                      <a:r>
                        <a:rPr lang="en-US" sz="900" b="1" dirty="0" smtClean="0">
                          <a:solidFill>
                            <a:schemeClr val="bg1"/>
                          </a:solidFill>
                        </a:rPr>
                        <a:t>Core Issue</a:t>
                      </a:r>
                      <a:endParaRPr lang="en-US" sz="900" b="1" dirty="0">
                        <a:solidFill>
                          <a:schemeClr val="bg1"/>
                        </a:solidFill>
                      </a:endParaRP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95000"/>
                        </a:lnSpc>
                        <a:spcBef>
                          <a:spcPts val="0"/>
                        </a:spcBef>
                        <a:spcAft>
                          <a:spcPts val="0"/>
                        </a:spcAft>
                        <a:buClr>
                          <a:srgbClr val="97989A"/>
                        </a:buClr>
                        <a:buSzPct val="100000"/>
                        <a:buFont typeface="Arial" pitchFamily="34" charset="0"/>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Specific analysi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588" marR="0" lvl="0" indent="-1588" algn="ctr" defTabSz="914400" rtl="0" eaLnBrk="1" fontAlgn="auto" latinLnBrk="0" hangingPunct="1">
                        <a:lnSpc>
                          <a:spcPct val="95000"/>
                        </a:lnSpc>
                        <a:spcBef>
                          <a:spcPts val="0"/>
                        </a:spcBef>
                        <a:spcAft>
                          <a:spcPts val="0"/>
                        </a:spcAft>
                        <a:buClr>
                          <a:srgbClr val="97989A"/>
                        </a:buClr>
                        <a:buSzPct val="100000"/>
                        <a:buFontTx/>
                        <a:buNone/>
                        <a:tabLst/>
                        <a:defRPr/>
                      </a:pPr>
                      <a:r>
                        <a:rPr kumimoji="0" lang="en-US" sz="900" b="1" i="0" u="none" strike="noStrike" kern="1200" cap="none" spc="0" normalizeH="0" baseline="0" noProof="0" dirty="0" smtClean="0">
                          <a:ln>
                            <a:noFill/>
                          </a:ln>
                          <a:solidFill>
                            <a:schemeClr val="bg1"/>
                          </a:solidFill>
                          <a:effectLst/>
                          <a:uLnTx/>
                          <a:uFillTx/>
                          <a:latin typeface="+mn-lt"/>
                          <a:ea typeface="+mn-ea"/>
                          <a:cs typeface="Arial" pitchFamily="34" charset="0"/>
                        </a:rPr>
                        <a:t>Page(s)</a:t>
                      </a:r>
                    </a:p>
                  </a:txBody>
                  <a:tcPr marL="54000" marR="54000" marT="54000" marB="5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540000">
                <a:tc>
                  <a:txBody>
                    <a:bodyPr/>
                    <a:lstStyle/>
                    <a:p>
                      <a:pPr marL="216000" indent="-216000">
                        <a:lnSpc>
                          <a:spcPct val="95000"/>
                        </a:lnSpc>
                        <a:spcBef>
                          <a:spcPts val="0"/>
                        </a:spcBef>
                        <a:spcAft>
                          <a:spcPts val="200"/>
                        </a:spcAft>
                        <a:buAutoNum type="arabicPeriod"/>
                        <a:tabLst>
                          <a:tab pos="176213" algn="l"/>
                        </a:tabLst>
                      </a:pPr>
                      <a:r>
                        <a:rPr lang="en-US" sz="900" b="1" dirty="0" smtClean="0">
                          <a:solidFill>
                            <a:schemeClr val="tx2"/>
                          </a:solidFill>
                        </a:rPr>
                        <a:t>Are the investments planned consistently with the past and are investment needs that have been identified for the future considered </a:t>
                      </a:r>
                      <a:br>
                        <a:rPr lang="en-US" sz="900" b="1" dirty="0" smtClean="0">
                          <a:solidFill>
                            <a:schemeClr val="tx2"/>
                          </a:solidFill>
                        </a:rPr>
                      </a:br>
                      <a:r>
                        <a:rPr lang="en-US" sz="900" b="1" dirty="0" smtClean="0">
                          <a:solidFill>
                            <a:schemeClr val="tx2"/>
                          </a:solidFill>
                        </a:rPr>
                        <a:t>in the planning?</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Linking with the findings of the past analysis</a:t>
                      </a:r>
                    </a:p>
                    <a:p>
                      <a:pPr marL="360000" marR="0" lvl="4" indent="-144000" algn="l" defTabSz="914400" rtl="0" eaLnBrk="1" fontAlgn="auto" latinLnBrk="0" hangingPunct="1">
                        <a:lnSpc>
                          <a:spcPct val="95000"/>
                        </a:lnSpc>
                        <a:spcBef>
                          <a:spcPts val="0"/>
                        </a:spcBef>
                        <a:spcAft>
                          <a:spcPts val="1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verage historical investment level/capex-to-sales ratio vs. average in the planning;</a:t>
                      </a:r>
                    </a:p>
                    <a:p>
                      <a:pPr marL="360000" marR="0" lvl="4" indent="-144000" algn="l" defTabSz="914400" rtl="0" eaLnBrk="1" fontAlgn="auto" latinLnBrk="0" hangingPunct="1">
                        <a:lnSpc>
                          <a:spcPct val="95000"/>
                        </a:lnSpc>
                        <a:spcBef>
                          <a:spcPts val="0"/>
                        </a:spcBef>
                        <a:spcAft>
                          <a:spcPts val="1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nvestment needs considered on the basis of investment/maintenance backlog, old equipment, etc.?</a:t>
                      </a:r>
                    </a:p>
                    <a:p>
                      <a:pPr marL="360000" marR="0" lvl="4" indent="-144000" algn="l" defTabSz="914400" rtl="0" eaLnBrk="1" fontAlgn="auto" latinLnBrk="0" hangingPunct="1">
                        <a:lnSpc>
                          <a:spcPct val="95000"/>
                        </a:lnSpc>
                        <a:spcBef>
                          <a:spcPts val="0"/>
                        </a:spcBef>
                        <a:spcAft>
                          <a:spcPts val="1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Historical adherence to budget and implications for the plann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f not consistent, what are the primary differences and (how) are these justified? Amongst other things:</a:t>
                      </a:r>
                    </a:p>
                    <a:p>
                      <a:pPr marL="360000" marR="0" lvl="4" indent="-144000" algn="l" defTabSz="914400" rtl="0" eaLnBrk="1" fontAlgn="auto" latinLnBrk="0" hangingPunct="1">
                        <a:lnSpc>
                          <a:spcPct val="95000"/>
                        </a:lnSpc>
                        <a:spcBef>
                          <a:spcPts val="0"/>
                        </a:spcBef>
                        <a:spcAft>
                          <a:spcPts val="1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hanges in the accounting policy/method (capex vs. </a:t>
                      </a:r>
                      <a:r>
                        <a:rPr kumimoji="0" lang="en-US" sz="900" b="0" i="0" u="none" strike="noStrike" kern="1200" cap="none" spc="0" normalizeH="0" baseline="0" noProof="0" dirty="0" err="1" smtClean="0">
                          <a:ln>
                            <a:noFill/>
                          </a:ln>
                          <a:solidFill>
                            <a:schemeClr val="tx2"/>
                          </a:solidFill>
                          <a:effectLst/>
                          <a:uLnTx/>
                          <a:uFillTx/>
                          <a:latin typeface="+mn-lt"/>
                          <a:ea typeface="+mn-ea"/>
                          <a:cs typeface="Arial" pitchFamily="34" charset="0"/>
                        </a:rPr>
                        <a:t>opex</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t>
                      </a:r>
                    </a:p>
                    <a:p>
                      <a:pPr marL="360000" marR="0" lvl="4" indent="-144000" algn="l" defTabSz="914400" rtl="0" eaLnBrk="1" fontAlgn="auto" latinLnBrk="0" hangingPunct="1">
                        <a:lnSpc>
                          <a:spcPct val="95000"/>
                        </a:lnSpc>
                        <a:spcBef>
                          <a:spcPts val="0"/>
                        </a:spcBef>
                        <a:spcAft>
                          <a:spcPts val="100"/>
                        </a:spcAft>
                        <a:buClr>
                          <a:schemeClr val="tx2"/>
                        </a:buClr>
                        <a:buSzPct val="100000"/>
                        <a:buFont typeface="Arial" panose="020B0604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possible change of the business model/investment policy (e.g. leasing instead of acquisition, outsourcing, etc.)</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Review of the consistency of depreciation, maintenance planning and asset planning (roll forward)</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7</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540000">
                <a:tc>
                  <a:txBody>
                    <a:bodyPr/>
                    <a:lstStyle/>
                    <a:p>
                      <a:pPr marL="216000" indent="-216000">
                        <a:lnSpc>
                          <a:spcPct val="95000"/>
                        </a:lnSpc>
                        <a:spcBef>
                          <a:spcPts val="0"/>
                        </a:spcBef>
                        <a:spcAft>
                          <a:spcPts val="200"/>
                        </a:spcAft>
                        <a:buClr>
                          <a:schemeClr val="tx2"/>
                        </a:buClr>
                        <a:tabLst>
                          <a:tab pos="176213" algn="l"/>
                        </a:tabLst>
                      </a:pPr>
                      <a:r>
                        <a:rPr lang="en-US" sz="900" b="1" kern="1200" dirty="0" smtClean="0">
                          <a:solidFill>
                            <a:schemeClr val="tx2"/>
                          </a:solidFill>
                          <a:latin typeface="+mn-lt"/>
                          <a:ea typeface="+mn-ea"/>
                          <a:cs typeface="+mn-cs"/>
                        </a:rPr>
                        <a:t>2. 		What causes changes in net debt over time and what assumptions have been made for (re)financing/ repayment?</a:t>
                      </a:r>
                    </a:p>
                    <a:p>
                      <a:pPr marL="216000" indent="-216000">
                        <a:lnSpc>
                          <a:spcPct val="95000"/>
                        </a:lnSpc>
                        <a:spcBef>
                          <a:spcPts val="0"/>
                        </a:spcBef>
                        <a:spcAft>
                          <a:spcPts val="200"/>
                        </a:spcAft>
                        <a:buClr>
                          <a:schemeClr val="tx2"/>
                        </a:buClr>
                        <a:tabLst>
                          <a:tab pos="176213" algn="l"/>
                        </a:tabLst>
                      </a:pPr>
                      <a:endParaRPr lang="en-US" sz="900" b="1" kern="1200" dirty="0" smtClean="0">
                        <a:solidFill>
                          <a:schemeClr val="tx2"/>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Review to what extent the investment planning has considered the creation of the required capacities for obtaining the planned sales earnings, in particular with historical bottlenecks in capacity</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Within the process of restructuring, often, there are contractual limitations of the investment budget. Check if these are being complied with and if the budget is sufficient for the measures intended in the plann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capex-to-sales ratio or other appropriate KPI over time</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nsideration of changes of the business model e.g. outsourcing?</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nsideration of regulatory requirements (e.g. offshore network connection for network operators, insulations for housing companie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Varying replacement and expansion investments and analysis of expansion investments and sales growth or increased profitability</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mn-cs"/>
                        </a:rPr>
                        <a:t>8</a:t>
                      </a:r>
                      <a:endPar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endParaRP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468000">
                <a:tc>
                  <a:txBody>
                    <a:bodyPr/>
                    <a:lstStyle/>
                    <a:p>
                      <a:pPr marL="216000" indent="-216000">
                        <a:lnSpc>
                          <a:spcPct val="95000"/>
                        </a:lnSpc>
                        <a:spcBef>
                          <a:spcPts val="0"/>
                        </a:spcBef>
                        <a:spcAft>
                          <a:spcPts val="200"/>
                        </a:spcAft>
                        <a:buAutoNum type="arabicPeriod" startAt="3"/>
                        <a:tabLst>
                          <a:tab pos="176213" algn="l"/>
                        </a:tabLst>
                      </a:pPr>
                      <a:r>
                        <a:rPr lang="en-US" sz="900" b="1" kern="1200" dirty="0" smtClean="0">
                          <a:solidFill>
                            <a:schemeClr val="tx2"/>
                          </a:solidFill>
                          <a:latin typeface="+mn-lt"/>
                          <a:ea typeface="+mn-ea"/>
                          <a:cs typeface="+mn-cs"/>
                        </a:rPr>
                        <a:t>What are the investment projects? </a:t>
                      </a: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Outline of investment projects</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Analysis of the basis of the cost estimate and possible budget risks for major projects</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lang="en-US" sz="900" dirty="0" smtClean="0">
                          <a:solidFill>
                            <a:schemeClr val="tx2"/>
                          </a:solidFill>
                        </a:rPr>
                        <a:t>9</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1008000">
                <a:tc>
                  <a:txBody>
                    <a:bodyPr/>
                    <a:lstStyle/>
                    <a:p>
                      <a:pPr marL="228600" marR="0" lvl="0" indent="-228600" algn="l" defTabSz="914400" rtl="0" eaLnBrk="1" fontAlgn="auto" latinLnBrk="0" hangingPunct="1">
                        <a:lnSpc>
                          <a:spcPct val="95000"/>
                        </a:lnSpc>
                        <a:spcBef>
                          <a:spcPts val="0"/>
                        </a:spcBef>
                        <a:spcAft>
                          <a:spcPts val="200"/>
                        </a:spcAft>
                        <a:buClrTx/>
                        <a:buSzTx/>
                        <a:buFont typeface="+mj-lt"/>
                        <a:buAutoNum type="arabicPeriod" startAt="4"/>
                        <a:tabLst>
                          <a:tab pos="176213" algn="l"/>
                        </a:tabLst>
                        <a:defRPr/>
                      </a:pPr>
                      <a:r>
                        <a:rPr lang="en-US" sz="900" b="1" kern="1200" dirty="0" smtClean="0">
                          <a:solidFill>
                            <a:schemeClr val="tx2"/>
                          </a:solidFill>
                          <a:latin typeface="+mn-lt"/>
                          <a:ea typeface="+mn-ea"/>
                          <a:cs typeface="+mn-cs"/>
                        </a:rPr>
                        <a:t>Are the planned investments consistent with the market expectations and sector parameters?</a:t>
                      </a:r>
                      <a:endParaRPr lang="en-US" sz="900" b="1" kern="1200" dirty="0" smtClean="0">
                        <a:solidFill>
                          <a:schemeClr val="bg1"/>
                        </a:solidFill>
                        <a:latin typeface="+mn-lt"/>
                        <a:ea typeface="+mn-ea"/>
                        <a:cs typeface="+mn-cs"/>
                      </a:endParaRPr>
                    </a:p>
                  </a:txBody>
                  <a:tcPr marL="54000" marR="54000" marT="54000" marB="54000">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Comparison of investments and capex-to-sales ratio to market studies, analysts’ expectations, peer group company KPIs (benchmarking) – Note, pay attention to uniform definition, method (e.g. leasing vs. purchase), and if necessary, balancing (</a:t>
                      </a:r>
                      <a:r>
                        <a:rPr kumimoji="0" lang="en-US" sz="900" b="0" i="0" u="none" strike="noStrike" kern="1200" cap="none" spc="0" normalizeH="0" baseline="0" noProof="0" dirty="0" err="1" smtClean="0">
                          <a:ln>
                            <a:noFill/>
                          </a:ln>
                          <a:solidFill>
                            <a:schemeClr val="tx2"/>
                          </a:solidFill>
                          <a:effectLst/>
                          <a:uLnTx/>
                          <a:uFillTx/>
                          <a:latin typeface="+mn-lt"/>
                          <a:ea typeface="+mn-ea"/>
                          <a:cs typeface="Arial" pitchFamily="34" charset="0"/>
                        </a:rPr>
                        <a:t>opex</a:t>
                      </a: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 vs. capex) of circumstances at peers and the company!</a:t>
                      </a:r>
                    </a:p>
                    <a:p>
                      <a:pPr marL="216000" marR="0" lvl="0" indent="-216000" algn="l" defTabSz="914400" rtl="0" eaLnBrk="1" fontAlgn="auto" latinLnBrk="0" hangingPunct="1">
                        <a:lnSpc>
                          <a:spcPct val="95000"/>
                        </a:lnSpc>
                        <a:spcBef>
                          <a:spcPts val="0"/>
                        </a:spcBef>
                        <a:spcAft>
                          <a:spcPts val="100"/>
                        </a:spcAft>
                        <a:buClr>
                          <a:schemeClr val="tx2"/>
                        </a:buClr>
                        <a:buSzPct val="100000"/>
                        <a:buFont typeface="Univers for KPMG Light" panose="020B0403020202020204" pitchFamily="34" charset="0"/>
                        <a:buChar char="—"/>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Identify and analyze explanation for possible deviations from market expectations (e.g. balancing, leasing, scale effects, etc.)</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588" marR="0" lvl="0" indent="-1588" algn="ctr" defTabSz="914400" rtl="0" eaLnBrk="1" fontAlgn="auto" latinLnBrk="0" hangingPunct="1">
                        <a:lnSpc>
                          <a:spcPct val="95000"/>
                        </a:lnSpc>
                        <a:spcBef>
                          <a:spcPts val="0"/>
                        </a:spcBef>
                        <a:spcAft>
                          <a:spcPts val="200"/>
                        </a:spcAft>
                        <a:buClr>
                          <a:srgbClr val="97989A"/>
                        </a:buClr>
                        <a:buSzPct val="100000"/>
                        <a:buFontTx/>
                        <a:buNone/>
                        <a:tabLst/>
                        <a:defRPr/>
                      </a:pPr>
                      <a:r>
                        <a:rPr kumimoji="0" lang="en-US" sz="900" b="0" i="0" u="none" strike="noStrike" kern="1200" cap="none" spc="0" normalizeH="0" baseline="0" noProof="0" dirty="0" smtClean="0">
                          <a:ln>
                            <a:noFill/>
                          </a:ln>
                          <a:solidFill>
                            <a:schemeClr val="tx2"/>
                          </a:solidFill>
                          <a:effectLst/>
                          <a:uLnTx/>
                          <a:uFillTx/>
                          <a:latin typeface="+mn-lt"/>
                          <a:ea typeface="+mn-ea"/>
                          <a:cs typeface="Arial" pitchFamily="34" charset="0"/>
                        </a:rPr>
                        <a:t>10</a:t>
                      </a:r>
                    </a:p>
                  </a:txBody>
                  <a:tcPr marL="54000" marR="54000" marT="54000" marB="54000">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pic>
        <p:nvPicPr>
          <p:cNvPr id="34" name="Grafik 33"/>
          <p:cNvPicPr>
            <a:picLocks noChangeAspect="1"/>
          </p:cNvPicPr>
          <p:nvPr/>
        </p:nvPicPr>
        <p:blipFill>
          <a:blip r:embed="rId3"/>
          <a:stretch>
            <a:fillRect/>
          </a:stretch>
        </p:blipFill>
        <p:spPr>
          <a:xfrm>
            <a:off x="1923567" y="2806427"/>
            <a:ext cx="281754" cy="335572"/>
          </a:xfrm>
          <a:prstGeom prst="rect">
            <a:avLst/>
          </a:prstGeom>
        </p:spPr>
      </p:pic>
      <p:pic>
        <p:nvPicPr>
          <p:cNvPr id="35" name="Grafik 34"/>
          <p:cNvPicPr>
            <a:picLocks noChangeAspect="1"/>
          </p:cNvPicPr>
          <p:nvPr/>
        </p:nvPicPr>
        <p:blipFill>
          <a:blip r:embed="rId4"/>
          <a:stretch>
            <a:fillRect/>
          </a:stretch>
        </p:blipFill>
        <p:spPr>
          <a:xfrm>
            <a:off x="2607862" y="2806427"/>
            <a:ext cx="281754" cy="335572"/>
          </a:xfrm>
          <a:prstGeom prst="rect">
            <a:avLst/>
          </a:prstGeom>
        </p:spPr>
      </p:pic>
      <p:pic>
        <p:nvPicPr>
          <p:cNvPr id="36" name="Grafik 35"/>
          <p:cNvPicPr>
            <a:picLocks noChangeAspect="1"/>
          </p:cNvPicPr>
          <p:nvPr/>
        </p:nvPicPr>
        <p:blipFill>
          <a:blip r:embed="rId5"/>
          <a:stretch>
            <a:fillRect/>
          </a:stretch>
        </p:blipFill>
        <p:spPr>
          <a:xfrm>
            <a:off x="2151665" y="2806427"/>
            <a:ext cx="281754" cy="335572"/>
          </a:xfrm>
          <a:prstGeom prst="rect">
            <a:avLst/>
          </a:prstGeom>
        </p:spPr>
      </p:pic>
      <p:pic>
        <p:nvPicPr>
          <p:cNvPr id="37" name="Grafik 36"/>
          <p:cNvPicPr>
            <a:picLocks/>
          </p:cNvPicPr>
          <p:nvPr/>
        </p:nvPicPr>
        <p:blipFill>
          <a:blip r:embed="rId6"/>
          <a:stretch>
            <a:fillRect/>
          </a:stretch>
        </p:blipFill>
        <p:spPr>
          <a:xfrm>
            <a:off x="2379763" y="2806427"/>
            <a:ext cx="281754" cy="335572"/>
          </a:xfrm>
          <a:prstGeom prst="rect">
            <a:avLst/>
          </a:prstGeom>
        </p:spPr>
      </p:pic>
      <p:pic>
        <p:nvPicPr>
          <p:cNvPr id="38" name="Grafik 37"/>
          <p:cNvPicPr>
            <a:picLocks noChangeAspect="1"/>
          </p:cNvPicPr>
          <p:nvPr/>
        </p:nvPicPr>
        <p:blipFill>
          <a:blip r:embed="rId3"/>
          <a:stretch>
            <a:fillRect/>
          </a:stretch>
        </p:blipFill>
        <p:spPr>
          <a:xfrm>
            <a:off x="2164000" y="4288796"/>
            <a:ext cx="281754" cy="335572"/>
          </a:xfrm>
          <a:prstGeom prst="rect">
            <a:avLst/>
          </a:prstGeom>
        </p:spPr>
      </p:pic>
      <p:pic>
        <p:nvPicPr>
          <p:cNvPr id="39" name="Grafik 38"/>
          <p:cNvPicPr>
            <a:picLocks noChangeAspect="1"/>
          </p:cNvPicPr>
          <p:nvPr/>
        </p:nvPicPr>
        <p:blipFill>
          <a:blip r:embed="rId5"/>
          <a:stretch>
            <a:fillRect/>
          </a:stretch>
        </p:blipFill>
        <p:spPr>
          <a:xfrm>
            <a:off x="2392098" y="4288796"/>
            <a:ext cx="281754" cy="335572"/>
          </a:xfrm>
          <a:prstGeom prst="rect">
            <a:avLst/>
          </a:prstGeom>
        </p:spPr>
      </p:pic>
      <p:pic>
        <p:nvPicPr>
          <p:cNvPr id="40" name="Grafik 39"/>
          <p:cNvPicPr>
            <a:picLocks/>
          </p:cNvPicPr>
          <p:nvPr/>
        </p:nvPicPr>
        <p:blipFill>
          <a:blip r:embed="rId6"/>
          <a:stretch>
            <a:fillRect/>
          </a:stretch>
        </p:blipFill>
        <p:spPr>
          <a:xfrm>
            <a:off x="2620196" y="4288796"/>
            <a:ext cx="281754" cy="335572"/>
          </a:xfrm>
          <a:prstGeom prst="rect">
            <a:avLst/>
          </a:prstGeom>
        </p:spPr>
      </p:pic>
      <p:pic>
        <p:nvPicPr>
          <p:cNvPr id="42" name="Grafik 41"/>
          <p:cNvPicPr>
            <a:picLocks noChangeAspect="1"/>
          </p:cNvPicPr>
          <p:nvPr/>
        </p:nvPicPr>
        <p:blipFill>
          <a:blip r:embed="rId5"/>
          <a:stretch>
            <a:fillRect/>
          </a:stretch>
        </p:blipFill>
        <p:spPr>
          <a:xfrm>
            <a:off x="2392098" y="4741907"/>
            <a:ext cx="281754" cy="335572"/>
          </a:xfrm>
          <a:prstGeom prst="rect">
            <a:avLst/>
          </a:prstGeom>
        </p:spPr>
      </p:pic>
      <p:pic>
        <p:nvPicPr>
          <p:cNvPr id="43" name="Grafik 42"/>
          <p:cNvPicPr>
            <a:picLocks/>
          </p:cNvPicPr>
          <p:nvPr/>
        </p:nvPicPr>
        <p:blipFill>
          <a:blip r:embed="rId6"/>
          <a:stretch>
            <a:fillRect/>
          </a:stretch>
        </p:blipFill>
        <p:spPr>
          <a:xfrm>
            <a:off x="2620196" y="4741907"/>
            <a:ext cx="281754" cy="335572"/>
          </a:xfrm>
          <a:prstGeom prst="rect">
            <a:avLst/>
          </a:prstGeom>
        </p:spPr>
      </p:pic>
      <p:pic>
        <p:nvPicPr>
          <p:cNvPr id="44" name="Grafik 43"/>
          <p:cNvPicPr>
            <a:picLocks noChangeAspect="1"/>
          </p:cNvPicPr>
          <p:nvPr/>
        </p:nvPicPr>
        <p:blipFill>
          <a:blip r:embed="rId3"/>
          <a:stretch>
            <a:fillRect/>
          </a:stretch>
        </p:blipFill>
        <p:spPr>
          <a:xfrm>
            <a:off x="2144950" y="5753736"/>
            <a:ext cx="281754" cy="335572"/>
          </a:xfrm>
          <a:prstGeom prst="rect">
            <a:avLst/>
          </a:prstGeom>
        </p:spPr>
      </p:pic>
      <p:pic>
        <p:nvPicPr>
          <p:cNvPr id="45" name="Grafik 44"/>
          <p:cNvPicPr>
            <a:picLocks noChangeAspect="1"/>
          </p:cNvPicPr>
          <p:nvPr/>
        </p:nvPicPr>
        <p:blipFill>
          <a:blip r:embed="rId5"/>
          <a:stretch>
            <a:fillRect/>
          </a:stretch>
        </p:blipFill>
        <p:spPr>
          <a:xfrm>
            <a:off x="2373048" y="5753736"/>
            <a:ext cx="281754" cy="335572"/>
          </a:xfrm>
          <a:prstGeom prst="rect">
            <a:avLst/>
          </a:prstGeom>
        </p:spPr>
      </p:pic>
      <p:pic>
        <p:nvPicPr>
          <p:cNvPr id="46" name="Grafik 45"/>
          <p:cNvPicPr>
            <a:picLocks/>
          </p:cNvPicPr>
          <p:nvPr/>
        </p:nvPicPr>
        <p:blipFill>
          <a:blip r:embed="rId6"/>
          <a:stretch>
            <a:fillRect/>
          </a:stretch>
        </p:blipFill>
        <p:spPr>
          <a:xfrm>
            <a:off x="2601146" y="5753736"/>
            <a:ext cx="281754" cy="335572"/>
          </a:xfrm>
          <a:prstGeom prst="rect">
            <a:avLst/>
          </a:prstGeom>
        </p:spPr>
      </p:pic>
    </p:spTree>
    <p:extLst>
      <p:ext uri="{BB962C8B-B14F-4D97-AF65-F5344CB8AC3E}">
        <p14:creationId xmlns:p14="http://schemas.microsoft.com/office/powerpoint/2010/main" val="2629216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a:t>The XXX AG plans to expand investments in the planning period to reduce the existing investment backlog. Depreciation increases respectively in the course of the planning.</a:t>
            </a:r>
          </a:p>
          <a:p>
            <a:r>
              <a:rPr lang="en-US" dirty="0"/>
              <a:t>We consider the investment and depreciation planning to be </a:t>
            </a:r>
            <a:r>
              <a:rPr lang="en-US" dirty="0" smtClean="0"/>
              <a:t>XXX.</a:t>
            </a:r>
            <a:endParaRPr lang="en-US" dirty="0"/>
          </a:p>
        </p:txBody>
      </p:sp>
      <p:sp>
        <p:nvSpPr>
          <p:cNvPr id="5" name="Textplatzhalter 4"/>
          <p:cNvSpPr>
            <a:spLocks noGrp="1"/>
          </p:cNvSpPr>
          <p:nvPr>
            <p:ph type="body" sz="quarter" idx="12"/>
          </p:nvPr>
        </p:nvSpPr>
        <p:spPr/>
        <p:txBody>
          <a:bodyPr/>
          <a:lstStyle/>
          <a:p>
            <a:pPr lvl="2">
              <a:lnSpc>
                <a:spcPct val="95000"/>
              </a:lnSpc>
              <a:spcBef>
                <a:spcPts val="300"/>
              </a:spcBef>
            </a:pPr>
            <a:r>
              <a:rPr lang="en-US" dirty="0" smtClean="0"/>
              <a:t>XXX AG expects a significant increase of the investments above the level of depreciation/average investment in the past, as a result of the successive reduction of the investment backlog. These are primarily for XXX.</a:t>
            </a:r>
          </a:p>
          <a:p>
            <a:pPr lvl="2">
              <a:lnSpc>
                <a:spcPct val="95000"/>
              </a:lnSpc>
              <a:spcBef>
                <a:spcPts val="300"/>
              </a:spcBef>
            </a:pPr>
            <a:r>
              <a:rPr lang="en-US" dirty="0" smtClean="0"/>
              <a:t>As a result of the investment activity the assets increase by ca. X % in the planning period.</a:t>
            </a:r>
          </a:p>
          <a:p>
            <a:pPr lvl="2">
              <a:lnSpc>
                <a:spcPct val="95000"/>
              </a:lnSpc>
              <a:spcBef>
                <a:spcPts val="300"/>
              </a:spcBef>
            </a:pPr>
            <a:r>
              <a:rPr lang="en-US" dirty="0" smtClean="0"/>
              <a:t>The investments are primarily in XXX. They are above the level of depreciation/average investment in the past as a result of the successive reduction of the investment backlog.</a:t>
            </a:r>
          </a:p>
          <a:p>
            <a:pPr lvl="2">
              <a:lnSpc>
                <a:spcPct val="95000"/>
              </a:lnSpc>
              <a:spcBef>
                <a:spcPts val="300"/>
              </a:spcBef>
            </a:pPr>
            <a:r>
              <a:rPr lang="en-US" dirty="0" smtClean="0"/>
              <a:t>[.... expansion vs. replacement investments .....]</a:t>
            </a:r>
          </a:p>
          <a:p>
            <a:pPr lvl="2">
              <a:lnSpc>
                <a:spcPct val="95000"/>
              </a:lnSpc>
              <a:spcBef>
                <a:spcPts val="300"/>
              </a:spcBef>
            </a:pPr>
            <a:r>
              <a:rPr lang="en-US" dirty="0" smtClean="0"/>
              <a:t>[.... Additional explanations of investments ...]</a:t>
            </a:r>
          </a:p>
          <a:p>
            <a:pPr lvl="2">
              <a:lnSpc>
                <a:spcPct val="95000"/>
              </a:lnSpc>
              <a:spcBef>
                <a:spcPts val="300"/>
              </a:spcBef>
            </a:pPr>
            <a:r>
              <a:rPr lang="en-US" dirty="0" smtClean="0"/>
              <a:t>[.... explanations of investments, depreciation method and assumed useful life ....]</a:t>
            </a:r>
          </a:p>
          <a:p>
            <a:pPr lvl="2">
              <a:lnSpc>
                <a:spcPct val="95000"/>
              </a:lnSpc>
              <a:spcBef>
                <a:spcPts val="300"/>
              </a:spcBef>
            </a:pPr>
            <a:r>
              <a:rPr lang="en-US" dirty="0" smtClean="0"/>
              <a:t>[... Reproduction of complete investment cycle? Length of planning horizon? Transition to sustainable result </a:t>
            </a:r>
            <a:r>
              <a:rPr lang="en-US" dirty="0" smtClean="0">
                <a:sym typeface="Wingdings" pitchFamily="2" charset="2"/>
              </a:rPr>
              <a:t> s. workbook Sustainable Result ...]</a:t>
            </a:r>
            <a:endParaRPr lang="en-US" dirty="0" smtClean="0"/>
          </a:p>
          <a:p>
            <a:pPr lvl="2">
              <a:lnSpc>
                <a:spcPct val="95000"/>
              </a:lnSpc>
              <a:spcBef>
                <a:spcPts val="300"/>
              </a:spcBef>
            </a:pPr>
            <a:r>
              <a:rPr lang="en-US" dirty="0" smtClean="0"/>
              <a:t>The depreciation increased slightly in the course of planning as a result of the investment sum being higher than depreciation.</a:t>
            </a:r>
          </a:p>
          <a:p>
            <a:pPr lvl="2">
              <a:lnSpc>
                <a:spcPct val="95000"/>
              </a:lnSpc>
              <a:spcBef>
                <a:spcPts val="300"/>
              </a:spcBef>
            </a:pPr>
            <a:r>
              <a:rPr lang="en-US" dirty="0" smtClean="0"/>
              <a:t>Due to the high assumed useful life of the planned expansion investments the depreciation ratio increased only slightly compared to the investment ratio.</a:t>
            </a:r>
          </a:p>
          <a:p>
            <a:pPr lvl="2">
              <a:lnSpc>
                <a:spcPct val="95000"/>
              </a:lnSpc>
              <a:spcBef>
                <a:spcPts val="300"/>
              </a:spcBef>
            </a:pPr>
            <a:r>
              <a:rPr lang="en-US" dirty="0" smtClean="0"/>
              <a:t>[.... explanations of depreciation and investment ratio (investments in % of sales ....)]</a:t>
            </a:r>
            <a:endParaRPr lang="en-US" dirty="0"/>
          </a:p>
        </p:txBody>
      </p:sp>
      <p:sp>
        <p:nvSpPr>
          <p:cNvPr id="4" name="Titel 3"/>
          <p:cNvSpPr>
            <a:spLocks noGrp="1"/>
          </p:cNvSpPr>
          <p:nvPr>
            <p:ph type="title"/>
          </p:nvPr>
        </p:nvSpPr>
        <p:spPr>
          <a:xfrm>
            <a:off x="488950" y="451575"/>
            <a:ext cx="8997950" cy="723600"/>
          </a:xfrm>
        </p:spPr>
        <p:txBody>
          <a:bodyPr/>
          <a:lstStyle/>
          <a:p>
            <a:r>
              <a:rPr lang="en-US" sz="3600" dirty="0"/>
              <a:t>1. Are the investments planned consistently with the past and have investment needs that have been identified for the future considered in the planning?</a:t>
            </a:r>
          </a:p>
        </p:txBody>
      </p:sp>
      <p:sp>
        <p:nvSpPr>
          <p:cNvPr id="3" name="Textplatzhalter 2"/>
          <p:cNvSpPr>
            <a:spLocks noGrp="1"/>
          </p:cNvSpPr>
          <p:nvPr>
            <p:ph type="body" sz="quarter" idx="13"/>
          </p:nvPr>
        </p:nvSpPr>
        <p:spPr/>
        <p:txBody>
          <a:bodyPr/>
          <a:lstStyle/>
          <a:p>
            <a:r>
              <a:rPr lang="en-US" dirty="0"/>
              <a:t>Investmen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3902320652"/>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20" name="Grafik 19"/>
          <p:cNvPicPr>
            <a:picLocks noChangeAspect="1"/>
          </p:cNvPicPr>
          <p:nvPr/>
        </p:nvPicPr>
        <p:blipFill>
          <a:blip r:embed="rId13">
            <a:duotone>
              <a:schemeClr val="bg2">
                <a:shade val="45000"/>
                <a:satMod val="135000"/>
              </a:schemeClr>
              <a:prstClr val="white"/>
            </a:duotone>
          </a:blip>
          <a:stretch>
            <a:fillRect/>
          </a:stretch>
        </p:blipFill>
        <p:spPr>
          <a:xfrm>
            <a:off x="8504146" y="5701816"/>
            <a:ext cx="340197" cy="405178"/>
          </a:xfrm>
          <a:prstGeom prst="rect">
            <a:avLst/>
          </a:prstGeom>
        </p:spPr>
      </p:pic>
      <p:pic>
        <p:nvPicPr>
          <p:cNvPr id="21" name="Grafik 20"/>
          <p:cNvPicPr>
            <a:picLocks noChangeAspect="1"/>
          </p:cNvPicPr>
          <p:nvPr/>
        </p:nvPicPr>
        <p:blipFill>
          <a:blip r:embed="rId14"/>
          <a:stretch>
            <a:fillRect/>
          </a:stretch>
        </p:blipFill>
        <p:spPr>
          <a:xfrm>
            <a:off x="8793054"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Depreciation and investments over time</a:t>
            </a:r>
          </a:p>
        </p:txBody>
      </p:sp>
      <p:grpSp>
        <p:nvGrpSpPr>
          <p:cNvPr id="35" name="Group 2"/>
          <p:cNvGrpSpPr/>
          <p:nvPr>
            <p:custDataLst>
              <p:tags r:id="rId3"/>
            </p:custDataLst>
          </p:nvPr>
        </p:nvGrpSpPr>
        <p:grpSpPr>
          <a:xfrm>
            <a:off x="2899954" y="1672499"/>
            <a:ext cx="2424522" cy="1575526"/>
            <a:chOff x="-755730" y="5561012"/>
            <a:chExt cx="2174657" cy="1624013"/>
          </a:xfrm>
        </p:grpSpPr>
        <p:sp>
          <p:nvSpPr>
            <p:cNvPr id="36"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Rectangle 4"/>
          <p:cNvSpPr>
            <a:spLocks noChangeArrowheads="1"/>
          </p:cNvSpPr>
          <p:nvPr>
            <p:custDataLst>
              <p:tags r:id="rId4"/>
            </p:custDataLst>
          </p:nvPr>
        </p:nvSpPr>
        <p:spPr bwMode="gray">
          <a:xfrm>
            <a:off x="6244621" y="5629492"/>
            <a:ext cx="1653442" cy="391896"/>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If applicable combined presentation with depreciation as presented in </a:t>
            </a:r>
            <a:r>
              <a:rPr lang="en-US" sz="700" dirty="0" smtClean="0">
                <a:solidFill>
                  <a:schemeClr val="bg1"/>
                </a:solidFill>
              </a:rPr>
              <a:t>workbook Expenditures from Gross </a:t>
            </a:r>
            <a:r>
              <a:rPr lang="en-US" sz="700" dirty="0">
                <a:solidFill>
                  <a:schemeClr val="bg1"/>
                </a:solidFill>
              </a:rPr>
              <a:t>Profit to EBIT (Plan)</a:t>
            </a:r>
          </a:p>
        </p:txBody>
      </p:sp>
      <p:pic>
        <p:nvPicPr>
          <p:cNvPr id="14" name="Grafik 13"/>
          <p:cNvPicPr>
            <a:picLocks noChangeAspect="1"/>
          </p:cNvPicPr>
          <p:nvPr>
            <p:custDataLst>
              <p:tags r:id="rId5"/>
            </p:custDataLst>
          </p:nvPr>
        </p:nvPicPr>
        <p:blipFill rotWithShape="1">
          <a:blip r:embed="rId15"/>
          <a:srcRect l="3196" t="12633" r="22768" b="18273"/>
          <a:stretch/>
        </p:blipFill>
        <p:spPr>
          <a:xfrm>
            <a:off x="2438401" y="1762126"/>
            <a:ext cx="3314700" cy="1866900"/>
          </a:xfrm>
          <a:prstGeom prst="rect">
            <a:avLst/>
          </a:prstGeom>
        </p:spPr>
      </p:pic>
      <p:sp>
        <p:nvSpPr>
          <p:cNvPr id="34" name="Text Box 8"/>
          <p:cNvSpPr txBox="1">
            <a:spLocks noChangeArrowheads="1"/>
          </p:cNvSpPr>
          <p:nvPr/>
        </p:nvSpPr>
        <p:spPr bwMode="gray">
          <a:xfrm>
            <a:off x="2460154" y="3655313"/>
            <a:ext cx="3600450" cy="210314"/>
          </a:xfrm>
          <a:prstGeom prst="rect">
            <a:avLst/>
          </a:prstGeom>
          <a:noFill/>
          <a:ln w="6350">
            <a:noFill/>
            <a:miter lim="800000"/>
            <a:headEnd type="none" w="sm" len="sm"/>
            <a:tailEnd type="none" w="sm" len="sm"/>
          </a:ln>
          <a:effectLst/>
        </p:spPr>
        <p:txBody>
          <a:bodyPr wrap="square" lIns="0" tIns="0" rIns="0" bIns="0" anchor="b">
            <a:spAutoFit/>
          </a:bodyPr>
          <a:lstStyle/>
          <a:p>
            <a:pPr marL="534988" indent="-534988" defTabSz="762000" eaLnBrk="0" hangingPunct="0">
              <a:spcBef>
                <a:spcPts val="200"/>
              </a:spcBef>
              <a:tabLst>
                <a:tab pos="355600" algn="l"/>
              </a:tabLst>
            </a:pPr>
            <a:r>
              <a:rPr lang="en-US" sz="600" dirty="0" smtClean="0">
                <a:latin typeface="Arial"/>
                <a:cs typeface="Arial" pitchFamily="34" charset="0"/>
              </a:rPr>
              <a:t>Note:	(a)	Depreciation ratio = Depreciation/Sales</a:t>
            </a:r>
          </a:p>
          <a:p>
            <a:pPr marL="534988" indent="-534988" defTabSz="762000" eaLnBrk="0" hangingPunct="0">
              <a:spcBef>
                <a:spcPts val="200"/>
              </a:spcBef>
              <a:tabLst>
                <a:tab pos="355600" algn="l"/>
              </a:tabLst>
            </a:pPr>
            <a:r>
              <a:rPr lang="en-US" sz="600" dirty="0" smtClean="0">
                <a:latin typeface="Arial"/>
                <a:cs typeface="Arial" pitchFamily="34" charset="0"/>
              </a:rPr>
              <a:t>	(b)	Investment ratio = Investments/Sales</a:t>
            </a:r>
          </a:p>
        </p:txBody>
      </p:sp>
      <p:pic>
        <p:nvPicPr>
          <p:cNvPr id="17" name="Grafik 16"/>
          <p:cNvPicPr>
            <a:picLocks noChangeAspect="1"/>
          </p:cNvPicPr>
          <p:nvPr>
            <p:custDataLst>
              <p:tags r:id="rId6"/>
            </p:custDataLst>
          </p:nvPr>
        </p:nvPicPr>
        <p:blipFill>
          <a:blip r:embed="rId16"/>
          <a:stretch>
            <a:fillRect/>
          </a:stretch>
        </p:blipFill>
        <p:spPr>
          <a:xfrm>
            <a:off x="2455228" y="4084223"/>
            <a:ext cx="3396743" cy="1594047"/>
          </a:xfrm>
          <a:prstGeom prst="rect">
            <a:avLst/>
          </a:prstGeom>
        </p:spPr>
      </p:pic>
      <p:pic>
        <p:nvPicPr>
          <p:cNvPr id="23" name="Grafik 22"/>
          <p:cNvPicPr>
            <a:picLocks noChangeAspect="1"/>
          </p:cNvPicPr>
          <p:nvPr/>
        </p:nvPicPr>
        <p:blipFill>
          <a:blip r:embed="rId17">
            <a:duotone>
              <a:schemeClr val="bg2">
                <a:shade val="45000"/>
                <a:satMod val="135000"/>
              </a:schemeClr>
              <a:prstClr val="white"/>
            </a:duotone>
          </a:blip>
          <a:stretch>
            <a:fillRect/>
          </a:stretch>
        </p:blipFill>
        <p:spPr>
          <a:xfrm>
            <a:off x="9081962" y="5701816"/>
            <a:ext cx="340197" cy="405178"/>
          </a:xfrm>
          <a:prstGeom prst="rect">
            <a:avLst/>
          </a:prstGeom>
        </p:spPr>
      </p:pic>
      <p:pic>
        <p:nvPicPr>
          <p:cNvPr id="24" name="Grafik 23"/>
          <p:cNvPicPr>
            <a:picLocks noChangeAspect="1"/>
          </p:cNvPicPr>
          <p:nvPr/>
        </p:nvPicPr>
        <p:blipFill>
          <a:blip r:embed="rId18">
            <a:duotone>
              <a:schemeClr val="bg2">
                <a:shade val="45000"/>
                <a:satMod val="135000"/>
              </a:schemeClr>
              <a:prstClr val="white"/>
            </a:duotone>
          </a:blip>
          <a:stretch>
            <a:fillRect/>
          </a:stretch>
        </p:blipFill>
        <p:spPr>
          <a:xfrm>
            <a:off x="8215238" y="5701816"/>
            <a:ext cx="340197" cy="405178"/>
          </a:xfrm>
          <a:prstGeom prst="rect">
            <a:avLst/>
          </a:prstGeom>
        </p:spPr>
      </p:pic>
      <p:pic>
        <p:nvPicPr>
          <p:cNvPr id="7" name="Grafik 6"/>
          <p:cNvPicPr>
            <a:picLocks noChangeAspect="1"/>
          </p:cNvPicPr>
          <p:nvPr>
            <p:custDataLst>
              <p:tags r:id="rId7"/>
            </p:custDataLst>
          </p:nvPr>
        </p:nvPicPr>
        <p:blipFill>
          <a:blip r:embed="rId19"/>
          <a:stretch>
            <a:fillRect/>
          </a:stretch>
        </p:blipFill>
        <p:spPr>
          <a:xfrm>
            <a:off x="-2778112" y="1819275"/>
            <a:ext cx="2005758" cy="2225233"/>
          </a:xfrm>
          <a:prstGeom prst="rect">
            <a:avLst/>
          </a:prstGeom>
        </p:spPr>
      </p:pic>
      <p:pic>
        <p:nvPicPr>
          <p:cNvPr id="9" name="Grafik 8"/>
          <p:cNvPicPr>
            <a:picLocks noChangeAspect="1"/>
          </p:cNvPicPr>
          <p:nvPr>
            <p:custDataLst>
              <p:tags r:id="rId8"/>
            </p:custDataLst>
          </p:nvPr>
        </p:nvPicPr>
        <p:blipFill>
          <a:blip r:embed="rId20"/>
          <a:stretch>
            <a:fillRect/>
          </a:stretch>
        </p:blipFill>
        <p:spPr>
          <a:xfrm>
            <a:off x="-2789490" y="4167499"/>
            <a:ext cx="1975275" cy="2219136"/>
          </a:xfrm>
          <a:prstGeom prst="rect">
            <a:avLst/>
          </a:prstGeom>
        </p:spPr>
      </p:pic>
    </p:spTree>
    <p:extLst>
      <p:ext uri="{BB962C8B-B14F-4D97-AF65-F5344CB8AC3E}">
        <p14:creationId xmlns:p14="http://schemas.microsoft.com/office/powerpoint/2010/main" val="3251271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0"/>
          </p:nvPr>
        </p:nvSpPr>
        <p:spPr/>
        <p:txBody>
          <a:bodyPr/>
          <a:lstStyle/>
          <a:p>
            <a:r>
              <a:rPr lang="en-US" dirty="0" smtClean="0"/>
              <a:t>With a significant expansion of the investment activities XXX AG expects an increase in capacity and therefore to pave the way for sales increases.</a:t>
            </a:r>
          </a:p>
          <a:p>
            <a:r>
              <a:rPr lang="en-US" dirty="0" smtClean="0"/>
              <a:t>Based on the technical full capacity in 2012, the degree of utilization can therefore be reduced to a long-term average level. </a:t>
            </a:r>
          </a:p>
          <a:p>
            <a:r>
              <a:rPr lang="en-US" dirty="0" smtClean="0"/>
              <a:t>In view of this the overall planned investments appear to be understandable.</a:t>
            </a:r>
            <a:endParaRPr lang="en-US" u="sng" dirty="0"/>
          </a:p>
        </p:txBody>
      </p:sp>
      <p:sp>
        <p:nvSpPr>
          <p:cNvPr id="4" name="Titel 3"/>
          <p:cNvSpPr>
            <a:spLocks noGrp="1"/>
          </p:cNvSpPr>
          <p:nvPr>
            <p:ph type="title"/>
          </p:nvPr>
        </p:nvSpPr>
        <p:spPr>
          <a:xfrm>
            <a:off x="488950" y="451575"/>
            <a:ext cx="8933113" cy="723600"/>
          </a:xfrm>
        </p:spPr>
        <p:txBody>
          <a:bodyPr/>
          <a:lstStyle/>
          <a:p>
            <a:r>
              <a:rPr lang="en-US" dirty="0"/>
              <a:t>2. Are the investments consistent for sales planning and the planned business model? </a:t>
            </a:r>
          </a:p>
        </p:txBody>
      </p:sp>
      <p:sp>
        <p:nvSpPr>
          <p:cNvPr id="3" name="Textplatzhalter 2"/>
          <p:cNvSpPr>
            <a:spLocks noGrp="1"/>
          </p:cNvSpPr>
          <p:nvPr>
            <p:ph type="body" sz="quarter" idx="13"/>
          </p:nvPr>
        </p:nvSpPr>
        <p:spPr/>
        <p:txBody>
          <a:bodyPr/>
          <a:lstStyle/>
          <a:p>
            <a:r>
              <a:rPr lang="en-US" dirty="0"/>
              <a:t>Investment (Planning) </a:t>
            </a:r>
          </a:p>
        </p:txBody>
      </p:sp>
      <p:graphicFrame>
        <p:nvGraphicFramePr>
          <p:cNvPr id="39" name="Group 90"/>
          <p:cNvGraphicFramePr>
            <a:graphicFrameLocks noGrp="1"/>
          </p:cNvGraphicFramePr>
          <p:nvPr>
            <p:custDataLst>
              <p:tags r:id="rId1"/>
            </p:custDataLst>
            <p:extLst>
              <p:ext uri="{D42A27DB-BD31-4B8C-83A1-F6EECF244321}">
                <p14:modId xmlns:p14="http://schemas.microsoft.com/office/powerpoint/2010/main" val="1505914531"/>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7"/>
          <a:stretch>
            <a:fillRect/>
          </a:stretch>
        </p:blipFill>
        <p:spPr>
          <a:xfrm>
            <a:off x="8215238" y="5701816"/>
            <a:ext cx="340197" cy="405178"/>
          </a:xfrm>
          <a:prstGeom prst="rect">
            <a:avLst/>
          </a:prstGeom>
        </p:spPr>
      </p:pic>
      <p:pic>
        <p:nvPicPr>
          <p:cNvPr id="20" name="Grafik 19"/>
          <p:cNvPicPr>
            <a:picLocks noChangeAspect="1"/>
          </p:cNvPicPr>
          <p:nvPr/>
        </p:nvPicPr>
        <p:blipFill>
          <a:blip r:embed="rId18"/>
          <a:stretch>
            <a:fillRect/>
          </a:stretch>
        </p:blipFill>
        <p:spPr>
          <a:xfrm>
            <a:off x="8504146" y="5701816"/>
            <a:ext cx="340197" cy="405178"/>
          </a:xfrm>
          <a:prstGeom prst="rect">
            <a:avLst/>
          </a:prstGeom>
        </p:spPr>
      </p:pic>
      <p:pic>
        <p:nvPicPr>
          <p:cNvPr id="21" name="Grafik 20"/>
          <p:cNvPicPr>
            <a:picLocks noChangeAspect="1"/>
          </p:cNvPicPr>
          <p:nvPr/>
        </p:nvPicPr>
        <p:blipFill>
          <a:blip r:embed="rId19"/>
          <a:stretch>
            <a:fillRect/>
          </a:stretch>
        </p:blipFill>
        <p:spPr>
          <a:xfrm>
            <a:off x="8793054" y="5701816"/>
            <a:ext cx="340197" cy="405178"/>
          </a:xfrm>
          <a:prstGeom prst="rect">
            <a:avLst/>
          </a:prstGeom>
        </p:spPr>
      </p:pic>
      <p:pic>
        <p:nvPicPr>
          <p:cNvPr id="22" name="Grafik 21"/>
          <p:cNvPicPr>
            <a:picLocks noChangeAspect="1"/>
          </p:cNvPicPr>
          <p:nvPr/>
        </p:nvPicPr>
        <p:blipFill>
          <a:blip r:embed="rId20">
            <a:duotone>
              <a:schemeClr val="bg2">
                <a:shade val="45000"/>
                <a:satMod val="135000"/>
              </a:schemeClr>
              <a:prstClr val="white"/>
            </a:duotone>
          </a:blip>
          <a:stretch>
            <a:fillRect/>
          </a:stretch>
        </p:blipFill>
        <p:spPr>
          <a:xfrm>
            <a:off x="9081962" y="5701816"/>
            <a:ext cx="340197" cy="405178"/>
          </a:xfrm>
          <a:prstGeom prst="rect">
            <a:avLst/>
          </a:prstGeom>
        </p:spPr>
      </p:pic>
      <p:sp>
        <p:nvSpPr>
          <p:cNvPr id="26" name="Text Placeholder 12"/>
          <p:cNvSpPr txBox="1">
            <a:spLocks/>
          </p:cNvSpPr>
          <p:nvPr>
            <p:custDataLst>
              <p:tags r:id="rId2"/>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Capacity and degree of </a:t>
            </a:r>
            <a:r>
              <a:rPr lang="en-US" sz="900" kern="0" dirty="0" smtClean="0">
                <a:latin typeface="Arial" panose="020B0604020202020204" pitchFamily="34" charset="0"/>
                <a:cs typeface="Arial" panose="020B0604020202020204" pitchFamily="34" charset="0"/>
              </a:rPr>
              <a:t>utilization</a:t>
            </a:r>
            <a:endParaRPr lang="en-US" sz="900" kern="0" dirty="0">
              <a:latin typeface="Arial" panose="020B0604020202020204" pitchFamily="34" charset="0"/>
              <a:cs typeface="Arial" panose="020B0604020202020204" pitchFamily="34" charset="0"/>
            </a:endParaRPr>
          </a:p>
        </p:txBody>
      </p:sp>
      <p:grpSp>
        <p:nvGrpSpPr>
          <p:cNvPr id="35" name="Group 2"/>
          <p:cNvGrpSpPr/>
          <p:nvPr>
            <p:custDataLst>
              <p:tags r:id="rId3"/>
            </p:custDataLst>
          </p:nvPr>
        </p:nvGrpSpPr>
        <p:grpSpPr>
          <a:xfrm>
            <a:off x="2901950" y="1657350"/>
            <a:ext cx="2679700" cy="1783460"/>
            <a:chOff x="-755730" y="5561012"/>
            <a:chExt cx="2174657" cy="1624013"/>
          </a:xfrm>
        </p:grpSpPr>
        <p:sp>
          <p:nvSpPr>
            <p:cNvPr id="36" name="Rectangle 2"/>
            <p:cNvSpPr>
              <a:spLocks noChangeArrowheads="1"/>
            </p:cNvSpPr>
            <p:nvPr>
              <p:custDataLst>
                <p:tags r:id="rId13"/>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7" name="Rectangle 2"/>
            <p:cNvSpPr>
              <a:spLocks noChangeArrowheads="1"/>
            </p:cNvSpPr>
            <p:nvPr>
              <p:custDataLst>
                <p:tags r:id="rId14"/>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sp>
        <p:nvSpPr>
          <p:cNvPr id="27" name="Rectangle 4"/>
          <p:cNvSpPr>
            <a:spLocks noChangeArrowheads="1"/>
          </p:cNvSpPr>
          <p:nvPr>
            <p:custDataLst>
              <p:tags r:id="rId4"/>
            </p:custDataLst>
          </p:nvPr>
        </p:nvSpPr>
        <p:spPr bwMode="gray">
          <a:xfrm>
            <a:off x="7768621" y="5038725"/>
            <a:ext cx="1653442" cy="592138"/>
          </a:xfrm>
          <a:prstGeom prst="rect">
            <a:avLst/>
          </a:prstGeom>
          <a:solidFill>
            <a:srgbClr val="BC204B"/>
          </a:solidFill>
          <a:ln w="6350">
            <a:noFill/>
            <a:miter lim="800000"/>
            <a:headEnd/>
            <a:tailEnd/>
          </a:ln>
          <a:effectLst/>
        </p:spPr>
        <p:txBody>
          <a:bodyPr lIns="54000" tIns="54000" rIns="54000" bIns="54000" anchor="ctr" anchorCtr="1"/>
          <a:lstStyle/>
          <a:p>
            <a:pPr algn="ctr" defTabSz="762000" eaLnBrk="0" hangingPunct="0">
              <a:lnSpc>
                <a:spcPct val="90000"/>
              </a:lnSpc>
            </a:pPr>
            <a:r>
              <a:rPr lang="en-US" sz="700" dirty="0">
                <a:solidFill>
                  <a:schemeClr val="bg1"/>
                </a:solidFill>
              </a:rPr>
              <a:t>Other analyses and presentations </a:t>
            </a:r>
            <a:r>
              <a:rPr lang="en-US" sz="700" dirty="0" smtClean="0">
                <a:solidFill>
                  <a:schemeClr val="bg1"/>
                </a:solidFill>
              </a:rPr>
              <a:t>sector-specific;</a:t>
            </a:r>
            <a:endParaRPr lang="en-US" sz="700" dirty="0">
              <a:solidFill>
                <a:schemeClr val="bg1"/>
              </a:solidFill>
            </a:endParaRPr>
          </a:p>
          <a:p>
            <a:pPr algn="ctr" defTabSz="762000" eaLnBrk="0" hangingPunct="0">
              <a:lnSpc>
                <a:spcPct val="90000"/>
              </a:lnSpc>
            </a:pPr>
            <a:r>
              <a:rPr lang="en-US" sz="700" dirty="0">
                <a:solidFill>
                  <a:schemeClr val="bg1"/>
                </a:solidFill>
              </a:rPr>
              <a:t>If capacity and </a:t>
            </a:r>
            <a:r>
              <a:rPr lang="en-US" sz="700" dirty="0" smtClean="0">
                <a:solidFill>
                  <a:schemeClr val="bg1"/>
                </a:solidFill>
              </a:rPr>
              <a:t>utilization </a:t>
            </a:r>
            <a:r>
              <a:rPr lang="en-US" sz="700" dirty="0">
                <a:solidFill>
                  <a:schemeClr val="bg1"/>
                </a:solidFill>
              </a:rPr>
              <a:t>not </a:t>
            </a:r>
            <a:r>
              <a:rPr lang="en-US" sz="700" dirty="0" smtClean="0">
                <a:solidFill>
                  <a:schemeClr val="bg1"/>
                </a:solidFill>
              </a:rPr>
              <a:t>available; </a:t>
            </a:r>
            <a:r>
              <a:rPr lang="en-US" sz="700" dirty="0">
                <a:solidFill>
                  <a:schemeClr val="bg1"/>
                </a:solidFill>
              </a:rPr>
              <a:t>analysis of net sales/ book value of assets (for </a:t>
            </a:r>
            <a:r>
              <a:rPr lang="en-US" sz="700" dirty="0" smtClean="0">
                <a:solidFill>
                  <a:schemeClr val="bg1"/>
                </a:solidFill>
              </a:rPr>
              <a:t>example)</a:t>
            </a:r>
            <a:endParaRPr lang="en-US" sz="700" dirty="0">
              <a:solidFill>
                <a:schemeClr val="bg1"/>
              </a:solidFill>
            </a:endParaRPr>
          </a:p>
        </p:txBody>
      </p:sp>
      <p:sp>
        <p:nvSpPr>
          <p:cNvPr id="23" name="Text Placeholder 12"/>
          <p:cNvSpPr txBox="1">
            <a:spLocks/>
          </p:cNvSpPr>
          <p:nvPr>
            <p:custDataLst>
              <p:tags r:id="rId5"/>
            </p:custDataLst>
          </p:nvPr>
        </p:nvSpPr>
        <p:spPr>
          <a:xfrm>
            <a:off x="2447922" y="380365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s and investment ratio</a:t>
            </a:r>
          </a:p>
        </p:txBody>
      </p:sp>
      <p:pic>
        <p:nvPicPr>
          <p:cNvPr id="10" name="Grafik 9"/>
          <p:cNvPicPr>
            <a:picLocks noChangeAspect="1"/>
          </p:cNvPicPr>
          <p:nvPr>
            <p:custDataLst>
              <p:tags r:id="rId6"/>
            </p:custDataLst>
          </p:nvPr>
        </p:nvPicPr>
        <p:blipFill rotWithShape="1">
          <a:blip r:embed="rId21"/>
          <a:srcRect l="3040" t="13198" r="6409" b="24494"/>
          <a:stretch/>
        </p:blipFill>
        <p:spPr>
          <a:xfrm>
            <a:off x="2438399" y="1876425"/>
            <a:ext cx="3524251" cy="1838325"/>
          </a:xfrm>
          <a:prstGeom prst="rect">
            <a:avLst/>
          </a:prstGeom>
        </p:spPr>
      </p:pic>
      <p:pic>
        <p:nvPicPr>
          <p:cNvPr id="11" name="Grafik 10"/>
          <p:cNvPicPr>
            <a:picLocks noChangeAspect="1"/>
          </p:cNvPicPr>
          <p:nvPr>
            <p:custDataLst>
              <p:tags r:id="rId7"/>
            </p:custDataLst>
          </p:nvPr>
        </p:nvPicPr>
        <p:blipFill rotWithShape="1">
          <a:blip r:embed="rId22"/>
          <a:srcRect l="2845" t="11352" r="8138" b="19689"/>
          <a:stretch/>
        </p:blipFill>
        <p:spPr>
          <a:xfrm>
            <a:off x="2438399" y="4136795"/>
            <a:ext cx="3524251" cy="1966205"/>
          </a:xfrm>
          <a:prstGeom prst="rect">
            <a:avLst/>
          </a:prstGeom>
        </p:spPr>
      </p:pic>
      <p:grpSp>
        <p:nvGrpSpPr>
          <p:cNvPr id="30" name="Group 2"/>
          <p:cNvGrpSpPr/>
          <p:nvPr>
            <p:custDataLst>
              <p:tags r:id="rId8"/>
            </p:custDataLst>
          </p:nvPr>
        </p:nvGrpSpPr>
        <p:grpSpPr>
          <a:xfrm>
            <a:off x="2901950" y="4037490"/>
            <a:ext cx="2679700" cy="1706085"/>
            <a:chOff x="-755730" y="5561012"/>
            <a:chExt cx="2174657" cy="1624013"/>
          </a:xfrm>
        </p:grpSpPr>
        <p:sp>
          <p:nvSpPr>
            <p:cNvPr id="31" name="Rectangle 2"/>
            <p:cNvSpPr>
              <a:spLocks noChangeArrowheads="1"/>
            </p:cNvSpPr>
            <p:nvPr>
              <p:custDataLst>
                <p:tags r:id="rId11"/>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3" name="Rectangle 2"/>
            <p:cNvSpPr>
              <a:spLocks noChangeArrowheads="1"/>
            </p:cNvSpPr>
            <p:nvPr>
              <p:custDataLst>
                <p:tags r:id="rId12"/>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7" name="Grafik 6"/>
          <p:cNvPicPr>
            <a:picLocks noChangeAspect="1"/>
          </p:cNvPicPr>
          <p:nvPr>
            <p:custDataLst>
              <p:tags r:id="rId9"/>
            </p:custDataLst>
          </p:nvPr>
        </p:nvPicPr>
        <p:blipFill>
          <a:blip r:embed="rId23"/>
          <a:stretch>
            <a:fillRect/>
          </a:stretch>
        </p:blipFill>
        <p:spPr>
          <a:xfrm>
            <a:off x="-2729677" y="2090346"/>
            <a:ext cx="2024047" cy="2225233"/>
          </a:xfrm>
          <a:prstGeom prst="rect">
            <a:avLst/>
          </a:prstGeom>
        </p:spPr>
      </p:pic>
      <p:pic>
        <p:nvPicPr>
          <p:cNvPr id="12" name="Grafik 11"/>
          <p:cNvPicPr>
            <a:picLocks noChangeAspect="1"/>
          </p:cNvPicPr>
          <p:nvPr>
            <p:custDataLst>
              <p:tags r:id="rId10"/>
            </p:custDataLst>
          </p:nvPr>
        </p:nvPicPr>
        <p:blipFill>
          <a:blip r:embed="rId24"/>
          <a:stretch>
            <a:fillRect/>
          </a:stretch>
        </p:blipFill>
        <p:spPr>
          <a:xfrm>
            <a:off x="-2705738" y="4511896"/>
            <a:ext cx="2024047" cy="2225233"/>
          </a:xfrm>
          <a:prstGeom prst="rect">
            <a:avLst/>
          </a:prstGeom>
        </p:spPr>
      </p:pic>
    </p:spTree>
    <p:extLst>
      <p:ext uri="{BB962C8B-B14F-4D97-AF65-F5344CB8AC3E}">
        <p14:creationId xmlns:p14="http://schemas.microsoft.com/office/powerpoint/2010/main" val="3272054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p:cNvPicPr>
            <a:picLocks noChangeAspect="1"/>
          </p:cNvPicPr>
          <p:nvPr>
            <p:custDataLst>
              <p:tags r:id="rId1"/>
            </p:custDataLst>
          </p:nvPr>
        </p:nvPicPr>
        <p:blipFill rotWithShape="1">
          <a:blip r:embed="rId13"/>
          <a:srcRect l="2504" t="15707" r="11991" b="19646"/>
          <a:stretch/>
        </p:blipFill>
        <p:spPr>
          <a:xfrm>
            <a:off x="2438401" y="4086225"/>
            <a:ext cx="3409950" cy="1952626"/>
          </a:xfrm>
          <a:prstGeom prst="rect">
            <a:avLst/>
          </a:prstGeom>
        </p:spPr>
      </p:pic>
      <p:sp>
        <p:nvSpPr>
          <p:cNvPr id="6" name="Textplatzhalter 5"/>
          <p:cNvSpPr>
            <a:spLocks noGrp="1"/>
          </p:cNvSpPr>
          <p:nvPr>
            <p:ph type="body" sz="quarter" idx="10"/>
          </p:nvPr>
        </p:nvSpPr>
        <p:spPr/>
        <p:txBody>
          <a:bodyPr/>
          <a:lstStyle/>
          <a:p>
            <a:r>
              <a:rPr lang="en-US" dirty="0"/>
              <a:t>The XXX AG planned investments are primarily for three projects.</a:t>
            </a:r>
          </a:p>
          <a:p>
            <a:r>
              <a:rPr lang="en-US" dirty="0"/>
              <a:t>The cost estimates for these projects are understandable. The implemented controlling processes for cost controlling appear appropriate.</a:t>
            </a:r>
          </a:p>
        </p:txBody>
      </p:sp>
      <p:sp>
        <p:nvSpPr>
          <p:cNvPr id="5" name="Textplatzhalter 4"/>
          <p:cNvSpPr>
            <a:spLocks noGrp="1"/>
          </p:cNvSpPr>
          <p:nvPr>
            <p:ph type="body" sz="quarter" idx="12"/>
          </p:nvPr>
        </p:nvSpPr>
        <p:spPr/>
        <p:txBody>
          <a:bodyPr/>
          <a:lstStyle/>
          <a:p>
            <a:pPr lvl="2">
              <a:lnSpc>
                <a:spcPct val="95000"/>
              </a:lnSpc>
              <a:spcBef>
                <a:spcPts val="300"/>
              </a:spcBef>
            </a:pPr>
            <a:r>
              <a:rPr lang="en-US" dirty="0" smtClean="0"/>
              <a:t>The investments of the XXX AG in the planning period are primarily for three projects XXX, YYY and ZZZ</a:t>
            </a:r>
          </a:p>
          <a:p>
            <a:pPr lvl="2">
              <a:lnSpc>
                <a:spcPct val="95000"/>
              </a:lnSpc>
              <a:spcBef>
                <a:spcPts val="300"/>
              </a:spcBef>
            </a:pPr>
            <a:r>
              <a:rPr lang="en-US" dirty="0" smtClean="0"/>
              <a:t>[.... Brief description of the individual projects; on what basis are the cost estimates founded? Are there cost risks? Degree of completion? Status? Etc. ....] </a:t>
            </a:r>
          </a:p>
          <a:p>
            <a:pPr lvl="2">
              <a:lnSpc>
                <a:spcPct val="95000"/>
              </a:lnSpc>
              <a:spcBef>
                <a:spcPts val="300"/>
              </a:spcBef>
            </a:pPr>
            <a:r>
              <a:rPr lang="en-US" dirty="0" smtClean="0"/>
              <a:t>[.... Brief explanation, if there are investments of a comparable magnitude after 2015? If yes, for what subjects? If not, what level is to be expected? ....]</a:t>
            </a:r>
            <a:endParaRPr lang="en-US" dirty="0"/>
          </a:p>
        </p:txBody>
      </p:sp>
      <p:sp>
        <p:nvSpPr>
          <p:cNvPr id="4" name="Titel 3"/>
          <p:cNvSpPr>
            <a:spLocks noGrp="1"/>
          </p:cNvSpPr>
          <p:nvPr>
            <p:ph type="title"/>
          </p:nvPr>
        </p:nvSpPr>
        <p:spPr>
          <a:xfrm>
            <a:off x="488950" y="451575"/>
            <a:ext cx="8931275" cy="723600"/>
          </a:xfrm>
        </p:spPr>
        <p:txBody>
          <a:bodyPr/>
          <a:lstStyle/>
          <a:p>
            <a:r>
              <a:rPr lang="en-US" dirty="0"/>
              <a:t>3. What are the investment projects? </a:t>
            </a:r>
          </a:p>
        </p:txBody>
      </p:sp>
      <p:sp>
        <p:nvSpPr>
          <p:cNvPr id="3" name="Textplatzhalter 2"/>
          <p:cNvSpPr>
            <a:spLocks noGrp="1"/>
          </p:cNvSpPr>
          <p:nvPr>
            <p:ph type="body" sz="quarter" idx="13"/>
          </p:nvPr>
        </p:nvSpPr>
        <p:spPr/>
        <p:txBody>
          <a:bodyPr/>
          <a:lstStyle/>
          <a:p>
            <a:r>
              <a:rPr lang="en-US" dirty="0"/>
              <a:t>Investment (Planning) </a:t>
            </a:r>
          </a:p>
        </p:txBody>
      </p:sp>
      <p:graphicFrame>
        <p:nvGraphicFramePr>
          <p:cNvPr id="39" name="Group 90"/>
          <p:cNvGraphicFramePr>
            <a:graphicFrameLocks noGrp="1"/>
          </p:cNvGraphicFramePr>
          <p:nvPr>
            <p:custDataLst>
              <p:tags r:id="rId2"/>
            </p:custDataLst>
            <p:extLst>
              <p:ext uri="{D42A27DB-BD31-4B8C-83A1-F6EECF244321}">
                <p14:modId xmlns:p14="http://schemas.microsoft.com/office/powerpoint/2010/main" val="935402973"/>
              </p:ext>
            </p:extLst>
          </p:nvPr>
        </p:nvGraphicFramePr>
        <p:xfrm>
          <a:off x="564229" y="5678270"/>
          <a:ext cx="1595438" cy="285360"/>
        </p:xfrm>
        <a:graphic>
          <a:graphicData uri="http://schemas.openxmlformats.org/drawingml/2006/table">
            <a:tbl>
              <a:tblPr/>
              <a:tblGrid>
                <a:gridCol w="1595438"/>
              </a:tblGrid>
              <a:tr h="0">
                <a:tc>
                  <a:txBody>
                    <a:bodyPr/>
                    <a:lstStyle/>
                    <a:p>
                      <a:pPr marL="0" marR="0" lvl="0" indent="0" algn="l" defTabSz="914400" rtl="0" eaLnBrk="1" fontAlgn="base" latinLnBrk="0" hangingPunct="1">
                        <a:lnSpc>
                          <a:spcPct val="100000"/>
                        </a:lnSpc>
                        <a:spcBef>
                          <a:spcPct val="40000"/>
                        </a:spcBef>
                        <a:spcAft>
                          <a:spcPct val="0"/>
                        </a:spcAft>
                        <a:buClrTx/>
                        <a:buSzTx/>
                        <a:buFontTx/>
                        <a:buNone/>
                        <a:tabLst/>
                        <a:defRPr/>
                      </a:pPr>
                      <a:r>
                        <a:rPr kumimoji="0" lang="de-DE" sz="700" b="1" i="0" u="none" strike="noStrike" cap="none" normalizeH="0" baseline="0" dirty="0" smtClean="0">
                          <a:ln>
                            <a:noFill/>
                          </a:ln>
                          <a:solidFill>
                            <a:schemeClr val="bg1"/>
                          </a:solidFill>
                          <a:effectLst/>
                          <a:latin typeface="+mn-lt"/>
                        </a:rPr>
                        <a:t>Tools</a:t>
                      </a: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C204B"/>
                    </a:solidFill>
                  </a:tcPr>
                </a:tc>
              </a:tr>
              <a:tr h="83218">
                <a:tc>
                  <a:txBody>
                    <a:bodyPr/>
                    <a:lstStyle/>
                    <a:p>
                      <a:pPr marL="0" marR="0" lvl="0" indent="0" algn="l" defTabSz="914400" rtl="0" eaLnBrk="1" fontAlgn="base" latinLnBrk="0" hangingPunct="1">
                        <a:lnSpc>
                          <a:spcPct val="100000"/>
                        </a:lnSpc>
                        <a:spcBef>
                          <a:spcPct val="40000"/>
                        </a:spcBef>
                        <a:spcAft>
                          <a:spcPct val="0"/>
                        </a:spcAft>
                        <a:buClrTx/>
                        <a:buSzTx/>
                        <a:buFontTx/>
                        <a:buNone/>
                        <a:tabLst/>
                      </a:pPr>
                      <a:r>
                        <a:rPr kumimoji="0" lang="de-DE" sz="700" b="0" i="0" u="none" strike="noStrike" cap="none" normalizeH="0" baseline="0" dirty="0" smtClean="0">
                          <a:ln>
                            <a:noFill/>
                          </a:ln>
                          <a:solidFill>
                            <a:schemeClr val="tx1"/>
                          </a:solidFill>
                          <a:effectLst/>
                          <a:latin typeface="+mn-lt"/>
                        </a:rPr>
                        <a:t>Excel </a:t>
                      </a:r>
                      <a:r>
                        <a:rPr kumimoji="0" lang="de-DE" sz="700" b="0" i="0" u="none" strike="noStrike" cap="none" normalizeH="0" baseline="0" dirty="0" err="1" smtClean="0">
                          <a:ln>
                            <a:noFill/>
                          </a:ln>
                          <a:solidFill>
                            <a:schemeClr val="tx1"/>
                          </a:solidFill>
                          <a:effectLst/>
                          <a:latin typeface="+mn-lt"/>
                        </a:rPr>
                        <a:t>analysis</a:t>
                      </a:r>
                      <a:endParaRPr kumimoji="0" lang="de-DE" sz="700" b="0" i="0" u="none" strike="noStrike" cap="none" normalizeH="0" baseline="0" dirty="0" smtClean="0">
                        <a:ln>
                          <a:noFill/>
                        </a:ln>
                        <a:solidFill>
                          <a:schemeClr val="tx1"/>
                        </a:solidFill>
                        <a:effectLst/>
                        <a:latin typeface="+mn-lt"/>
                      </a:endParaRPr>
                    </a:p>
                  </a:txBody>
                  <a:tcPr marL="36000" marR="0" marT="18000" marB="18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r>
            </a:tbl>
          </a:graphicData>
        </a:graphic>
      </p:graphicFrame>
      <p:pic>
        <p:nvPicPr>
          <p:cNvPr id="19" name="Grafik 18"/>
          <p:cNvPicPr>
            <a:picLocks noChangeAspect="1"/>
          </p:cNvPicPr>
          <p:nvPr/>
        </p:nvPicPr>
        <p:blipFill>
          <a:blip r:embed="rId14">
            <a:duotone>
              <a:schemeClr val="bg2">
                <a:shade val="45000"/>
                <a:satMod val="135000"/>
              </a:schemeClr>
              <a:prstClr val="white"/>
            </a:duotone>
          </a:blip>
          <a:stretch>
            <a:fillRect/>
          </a:stretch>
        </p:blipFill>
        <p:spPr>
          <a:xfrm>
            <a:off x="8215238" y="5701816"/>
            <a:ext cx="340197" cy="405178"/>
          </a:xfrm>
          <a:prstGeom prst="rect">
            <a:avLst/>
          </a:prstGeom>
        </p:spPr>
      </p:pic>
      <p:pic>
        <p:nvPicPr>
          <p:cNvPr id="20" name="Grafik 19"/>
          <p:cNvPicPr>
            <a:picLocks noChangeAspect="1"/>
          </p:cNvPicPr>
          <p:nvPr/>
        </p:nvPicPr>
        <p:blipFill>
          <a:blip r:embed="rId15"/>
          <a:stretch>
            <a:fillRect/>
          </a:stretch>
        </p:blipFill>
        <p:spPr>
          <a:xfrm>
            <a:off x="8504146" y="5701816"/>
            <a:ext cx="340197" cy="405178"/>
          </a:xfrm>
          <a:prstGeom prst="rect">
            <a:avLst/>
          </a:prstGeom>
        </p:spPr>
      </p:pic>
      <p:pic>
        <p:nvPicPr>
          <p:cNvPr id="21" name="Grafik 20"/>
          <p:cNvPicPr>
            <a:picLocks noChangeAspect="1"/>
          </p:cNvPicPr>
          <p:nvPr/>
        </p:nvPicPr>
        <p:blipFill>
          <a:blip r:embed="rId16"/>
          <a:stretch>
            <a:fillRect/>
          </a:stretch>
        </p:blipFill>
        <p:spPr>
          <a:xfrm>
            <a:off x="8793054" y="5701816"/>
            <a:ext cx="340197" cy="405178"/>
          </a:xfrm>
          <a:prstGeom prst="rect">
            <a:avLst/>
          </a:prstGeom>
        </p:spPr>
      </p:pic>
      <p:pic>
        <p:nvPicPr>
          <p:cNvPr id="22" name="Grafik 21"/>
          <p:cNvPicPr>
            <a:picLocks noChangeAspect="1"/>
          </p:cNvPicPr>
          <p:nvPr/>
        </p:nvPicPr>
        <p:blipFill>
          <a:blip r:embed="rId17">
            <a:duotone>
              <a:schemeClr val="bg2">
                <a:shade val="45000"/>
                <a:satMod val="135000"/>
              </a:schemeClr>
              <a:prstClr val="white"/>
            </a:duotone>
          </a:blip>
          <a:stretch>
            <a:fillRect/>
          </a:stretch>
        </p:blipFill>
        <p:spPr>
          <a:xfrm>
            <a:off x="9081962" y="5701816"/>
            <a:ext cx="340197" cy="405178"/>
          </a:xfrm>
          <a:prstGeom prst="rect">
            <a:avLst/>
          </a:prstGeom>
        </p:spPr>
      </p:pic>
      <p:sp>
        <p:nvSpPr>
          <p:cNvPr id="26" name="Text Placeholder 12"/>
          <p:cNvSpPr txBox="1">
            <a:spLocks/>
          </p:cNvSpPr>
          <p:nvPr>
            <p:custDataLst>
              <p:tags r:id="rId3"/>
            </p:custDataLst>
          </p:nvPr>
        </p:nvSpPr>
        <p:spPr>
          <a:xfrm>
            <a:off x="2447922" y="1422400"/>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Primary investment projects</a:t>
            </a:r>
          </a:p>
        </p:txBody>
      </p:sp>
      <p:sp>
        <p:nvSpPr>
          <p:cNvPr id="23" name="Text Placeholder 12"/>
          <p:cNvSpPr txBox="1">
            <a:spLocks/>
          </p:cNvSpPr>
          <p:nvPr>
            <p:custDataLst>
              <p:tags r:id="rId4"/>
            </p:custDataLst>
          </p:nvPr>
        </p:nvSpPr>
        <p:spPr>
          <a:xfrm>
            <a:off x="2447922" y="3797676"/>
            <a:ext cx="3397251" cy="228371"/>
          </a:xfrm>
          <a:prstGeom prst="rect">
            <a:avLst/>
          </a:prstGeom>
        </p:spPr>
        <p:txBody>
          <a:bodyPr vert="horz" lIns="0" tIns="0" rIns="0" bIns="0" rtlCol="0">
            <a:noAutofit/>
          </a:bodyPr>
          <a:lstStyle>
            <a:lvl1pPr eaLnBrk="1" hangingPunct="1">
              <a:spcAft>
                <a:spcPts val="600"/>
              </a:spcAft>
              <a:defRPr sz="13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0"/>
              </a:spcAft>
              <a:buFont typeface="Univers for KPMG"/>
              <a:buNone/>
              <a:defRPr sz="1300" b="0" i="0">
                <a:solidFill>
                  <a:srgbClr val="003087"/>
                </a:solidFill>
                <a:latin typeface="Univers for KPMG Light" panose="020B0403020202020204" pitchFamily="34" charset="0"/>
                <a:cs typeface="Univers for KPMG" panose="020B0603020202020204" pitchFamily="34" charset="0"/>
              </a:defRPr>
            </a:lvl2pPr>
            <a:lvl3pPr marL="285750" indent="-28575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3pPr>
            <a:lvl4pPr marL="576072" indent="-228600" eaLnBrk="1" hangingPunct="1">
              <a:spcAft>
                <a:spcPts val="600"/>
              </a:spcAft>
              <a:buClr>
                <a:schemeClr val="tx2"/>
              </a:buClr>
              <a:buFont typeface="Univers for KPMG Light" panose="020B0403020202020204" pitchFamily="34" charset="0"/>
              <a:buChar char="-"/>
              <a:defRPr sz="1300" b="0" i="0">
                <a:solidFill>
                  <a:srgbClr val="003087"/>
                </a:solidFill>
                <a:latin typeface="Univers for KPMG Light" panose="020B0403020202020204" pitchFamily="34" charset="0"/>
                <a:cs typeface="Univers for KPMG" panose="020B0603020202020204" pitchFamily="34" charset="0"/>
              </a:defRPr>
            </a:lvl4pPr>
            <a:lvl5pPr eaLnBrk="1" hangingPunct="1">
              <a:spcAft>
                <a:spcPts val="600"/>
              </a:spcAft>
              <a:defRPr sz="1300" b="0" i="0">
                <a:solidFill>
                  <a:srgbClr val="00A3A1"/>
                </a:solidFill>
                <a:latin typeface="Univers for KPMG Light" panose="020B0403020202020204" pitchFamily="34" charset="0"/>
                <a:cs typeface="Univers for KPMG" panose="020B0603020202020204" pitchFamily="34" charset="0"/>
              </a:defRPr>
            </a:lvl5pPr>
          </a:lstStyle>
          <a:p>
            <a:r>
              <a:rPr lang="en-US" sz="900" kern="0" dirty="0">
                <a:latin typeface="Arial" panose="020B0604020202020204" pitchFamily="34" charset="0"/>
                <a:cs typeface="Arial" panose="020B0604020202020204" pitchFamily="34" charset="0"/>
              </a:rPr>
              <a:t>Investments in purchase, new building and </a:t>
            </a:r>
            <a:r>
              <a:rPr lang="en-US" sz="900" kern="0" dirty="0" smtClean="0">
                <a:latin typeface="Arial" panose="020B0604020202020204" pitchFamily="34" charset="0"/>
                <a:cs typeface="Arial" panose="020B0604020202020204" pitchFamily="34" charset="0"/>
              </a:rPr>
              <a:t>modernization</a:t>
            </a:r>
            <a:endParaRPr lang="en-US" sz="900" kern="0" dirty="0">
              <a:latin typeface="Arial" panose="020B0604020202020204" pitchFamily="34" charset="0"/>
              <a:cs typeface="Arial" panose="020B0604020202020204" pitchFamily="34" charset="0"/>
            </a:endParaRPr>
          </a:p>
        </p:txBody>
      </p:sp>
      <p:grpSp>
        <p:nvGrpSpPr>
          <p:cNvPr id="30" name="Group 2"/>
          <p:cNvGrpSpPr/>
          <p:nvPr>
            <p:custDataLst>
              <p:tags r:id="rId5"/>
            </p:custDataLst>
          </p:nvPr>
        </p:nvGrpSpPr>
        <p:grpSpPr>
          <a:xfrm>
            <a:off x="2901950" y="3990975"/>
            <a:ext cx="2555875" cy="1866899"/>
            <a:chOff x="-755730" y="5561012"/>
            <a:chExt cx="2174657" cy="1624013"/>
          </a:xfrm>
        </p:grpSpPr>
        <p:sp>
          <p:nvSpPr>
            <p:cNvPr id="31" name="Rectangle 2"/>
            <p:cNvSpPr>
              <a:spLocks noChangeArrowheads="1"/>
            </p:cNvSpPr>
            <p:nvPr>
              <p:custDataLst>
                <p:tags r:id="rId9"/>
              </p:custDataLst>
            </p:nvPr>
          </p:nvSpPr>
          <p:spPr bwMode="auto">
            <a:xfrm>
              <a:off x="348952" y="5561012"/>
              <a:ext cx="1069975" cy="1624013"/>
            </a:xfrm>
            <a:prstGeom prst="rect">
              <a:avLst/>
            </a:prstGeom>
            <a:noFill/>
            <a:ln w="6350" algn="ctr">
              <a:solidFill>
                <a:srgbClr val="009A44"/>
              </a:solidFill>
              <a:miter lim="800000"/>
              <a:headEnd type="none" w="sm" len="sm"/>
              <a:tailEnd type="none" w="sm" len="sm"/>
            </a:ln>
            <a:effectLst/>
          </p:spPr>
          <p:txBody>
            <a:bodyPr wrap="none" lIns="54000" tIns="54000" rIns="54000" bIns="54000"/>
            <a:lstStyle/>
            <a:p>
              <a:pPr algn="ctr" defTabSz="762000" eaLnBrk="0" hangingPunct="0"/>
              <a:r>
                <a:rPr lang="en-US" sz="800" dirty="0" smtClean="0"/>
                <a:t>Plan</a:t>
              </a:r>
              <a:endParaRPr lang="en-US" sz="800" dirty="0"/>
            </a:p>
          </p:txBody>
        </p:sp>
        <p:sp>
          <p:nvSpPr>
            <p:cNvPr id="33" name="Rectangle 2"/>
            <p:cNvSpPr>
              <a:spLocks noChangeArrowheads="1"/>
            </p:cNvSpPr>
            <p:nvPr>
              <p:custDataLst>
                <p:tags r:id="rId10"/>
              </p:custDataLst>
            </p:nvPr>
          </p:nvSpPr>
          <p:spPr bwMode="auto">
            <a:xfrm>
              <a:off x="-755730" y="5561012"/>
              <a:ext cx="1069974" cy="1624013"/>
            </a:xfrm>
            <a:prstGeom prst="rect">
              <a:avLst/>
            </a:prstGeom>
            <a:noFill/>
            <a:ln w="6350" algn="ctr">
              <a:solidFill>
                <a:srgbClr val="BC204B"/>
              </a:solidFill>
              <a:miter lim="800000"/>
              <a:headEnd type="none" w="sm" len="sm"/>
              <a:tailEnd type="none" w="sm" len="sm"/>
            </a:ln>
            <a:effectLst/>
          </p:spPr>
          <p:txBody>
            <a:bodyPr wrap="none" lIns="54000" tIns="54000" rIns="54000" bIns="54000"/>
            <a:lstStyle/>
            <a:p>
              <a:pPr algn="ctr" defTabSz="762000" eaLnBrk="0" hangingPunct="0"/>
              <a:r>
                <a:rPr lang="en-US" sz="800" dirty="0" smtClean="0"/>
                <a:t>Actual</a:t>
              </a:r>
              <a:endParaRPr lang="en-US" sz="800" dirty="0"/>
            </a:p>
          </p:txBody>
        </p:sp>
      </p:grpSp>
      <p:pic>
        <p:nvPicPr>
          <p:cNvPr id="2" name="Grafik 1"/>
          <p:cNvPicPr>
            <a:picLocks noChangeAspect="1"/>
          </p:cNvPicPr>
          <p:nvPr>
            <p:custDataLst>
              <p:tags r:id="rId6"/>
            </p:custDataLst>
          </p:nvPr>
        </p:nvPicPr>
        <p:blipFill>
          <a:blip r:embed="rId18"/>
          <a:stretch>
            <a:fillRect/>
          </a:stretch>
        </p:blipFill>
        <p:spPr>
          <a:xfrm>
            <a:off x="2454525" y="1612833"/>
            <a:ext cx="3390648" cy="1411173"/>
          </a:xfrm>
          <a:prstGeom prst="rect">
            <a:avLst/>
          </a:prstGeom>
        </p:spPr>
      </p:pic>
      <p:sp>
        <p:nvSpPr>
          <p:cNvPr id="34" name="Rechteck 33"/>
          <p:cNvSpPr/>
          <p:nvPr/>
        </p:nvSpPr>
        <p:spPr>
          <a:xfrm rot="721361">
            <a:off x="4393274" y="3502187"/>
            <a:ext cx="1910028" cy="232228"/>
          </a:xfrm>
          <a:prstGeom prst="rect">
            <a:avLst/>
          </a:prstGeom>
          <a:solidFill>
            <a:srgbClr val="C6007E"/>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dirty="0" smtClean="0"/>
              <a:t>Alternative</a:t>
            </a:r>
            <a:endParaRPr lang="en-US" sz="900" dirty="0"/>
          </a:p>
        </p:txBody>
      </p:sp>
      <p:pic>
        <p:nvPicPr>
          <p:cNvPr id="8" name="Grafik 7"/>
          <p:cNvPicPr>
            <a:picLocks noChangeAspect="1"/>
          </p:cNvPicPr>
          <p:nvPr>
            <p:custDataLst>
              <p:tags r:id="rId7"/>
            </p:custDataLst>
          </p:nvPr>
        </p:nvPicPr>
        <p:blipFill>
          <a:blip r:embed="rId19"/>
          <a:stretch>
            <a:fillRect/>
          </a:stretch>
        </p:blipFill>
        <p:spPr>
          <a:xfrm>
            <a:off x="-2694556" y="1438651"/>
            <a:ext cx="1993565" cy="2219136"/>
          </a:xfrm>
          <a:prstGeom prst="rect">
            <a:avLst/>
          </a:prstGeom>
        </p:spPr>
      </p:pic>
      <p:pic>
        <p:nvPicPr>
          <p:cNvPr id="11" name="Grafik 10"/>
          <p:cNvPicPr>
            <a:picLocks noChangeAspect="1"/>
          </p:cNvPicPr>
          <p:nvPr>
            <p:custDataLst>
              <p:tags r:id="rId8"/>
            </p:custDataLst>
          </p:nvPr>
        </p:nvPicPr>
        <p:blipFill>
          <a:blip r:embed="rId20"/>
          <a:stretch>
            <a:fillRect/>
          </a:stretch>
        </p:blipFill>
        <p:spPr>
          <a:xfrm>
            <a:off x="-2696214" y="3797676"/>
            <a:ext cx="2024047" cy="2219136"/>
          </a:xfrm>
          <a:prstGeom prst="rect">
            <a:avLst/>
          </a:prstGeom>
        </p:spPr>
      </p:pic>
    </p:spTree>
    <p:extLst>
      <p:ext uri="{BB962C8B-B14F-4D97-AF65-F5344CB8AC3E}">
        <p14:creationId xmlns:p14="http://schemas.microsoft.com/office/powerpoint/2010/main" val="962140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1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12.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Lst>
</file>

<file path=ppt/tags/tag1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Lst>
</file>

<file path=ppt/tags/tag1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6"/>
  <p:tag name="WASTB" val="TRUE"/>
</p:tagLst>
</file>

<file path=ppt/tags/tag1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A$103:$G$111"/>
  <p:tag name="WASTB" val="TRUE"/>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21.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2.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2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7"/>
</p:tagLst>
</file>

<file path=ppt/tags/tag2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8"/>
</p:tagLst>
</file>

<file path=ppt/tags/tag27.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2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7"/>
  <p:tag name="WASTB" val="TRUE"/>
</p:tagLst>
</file>

<file path=ppt/tags/tag2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8"/>
  <p:tag name="WASTB" val="TRUE"/>
</p:tagLst>
</file>

<file path=ppt/tags/tag3.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FASFONT" val="Univers55"/>
</p:tagLst>
</file>

<file path=ppt/tags/tag34.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9"/>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3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7.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38.xml><?xml version="1.0" encoding="utf-8"?>
<p:tagLst xmlns:a="http://schemas.openxmlformats.org/drawingml/2006/main" xmlns:r="http://schemas.openxmlformats.org/officeDocument/2006/relationships" xmlns:p="http://schemas.openxmlformats.org/presentationml/2006/main">
  <p:tag name="ADV_TOP" val="112,3354"/>
  <p:tag name="ADV_LEFT" val="192,75"/>
  <p:tag name="ADV_HEIGHT" val="173,75"/>
  <p:tag name="ADV_WIDTH" val="221,6875"/>
</p:tagLst>
</file>

<file path=ppt/tags/tag3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A$71:$G$80"/>
</p:tagLst>
</file>

<file path=ppt/tags/tag4.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A$71:$G$80"/>
  <p:tag name="WASTB" val="TRUE"/>
</p:tagLst>
</file>

<file path=ppt/tags/tag41.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7_Investments!07_Investments Diagramm 9"/>
  <p:tag name="WASTB" val="TRUE"/>
</p:tagLst>
</file>

<file path=ppt/tags/tag42.xml><?xml version="1.0" encoding="utf-8"?>
<p:tagLst xmlns:a="http://schemas.openxmlformats.org/drawingml/2006/main" xmlns:r="http://schemas.openxmlformats.org/officeDocument/2006/relationships" xmlns:p="http://schemas.openxmlformats.org/presentationml/2006/main">
  <p:tag name="FASFONT" val="Univers55"/>
</p:tagLst>
</file>

<file path=ppt/tags/tag43.xml><?xml version="1.0" encoding="utf-8"?>
<p:tagLst xmlns:a="http://schemas.openxmlformats.org/drawingml/2006/main" xmlns:r="http://schemas.openxmlformats.org/officeDocument/2006/relationships" xmlns:p="http://schemas.openxmlformats.org/presentationml/2006/main">
  <p:tag name="FASFONT" val="Univers55"/>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zXx9ijMkC0JXkXZMWS9A"/>
</p:tagLst>
</file>

<file path=ppt/tags/tag45.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6.xml><?xml version="1.0" encoding="utf-8"?>
<p:tagLst xmlns:a="http://schemas.openxmlformats.org/drawingml/2006/main" xmlns:r="http://schemas.openxmlformats.org/officeDocument/2006/relationships" xmlns:p="http://schemas.openxmlformats.org/presentationml/2006/main">
  <p:tag name="ADV_TOP" val="112"/>
  <p:tag name="ADV_LEFT" val="192,7498"/>
  <p:tag name="ADV_HEIGHT" val="17,98197"/>
  <p:tag name="ADV_WIDTH" val="267,5001"/>
</p:tagLst>
</file>

<file path=ppt/tags/tag47.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Lst>
</file>

<file path=ppt/tags/tag4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Lst>
</file>

<file path=ppt/tags/tag4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
  <p:tag name="WASTB" val="TRUE"/>
</p:tagLst>
</file>

<file path=ppt/tags/tag5.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1"/>
</p:tagLst>
</file>

<file path=ppt/tags/tag50.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12"/>
  <p:tag name="WASTB" val="TRUE"/>
</p:tagLst>
</file>

<file path=ppt/tags/tag51.xml><?xml version="1.0" encoding="utf-8"?>
<p:tagLst xmlns:a="http://schemas.openxmlformats.org/drawingml/2006/main" xmlns:r="http://schemas.openxmlformats.org/officeDocument/2006/relationships" xmlns:p="http://schemas.openxmlformats.org/presentationml/2006/main">
  <p:tag name="COPYRIGHT1" val="TRUE"/>
</p:tagLst>
</file>

<file path=ppt/tags/tag6.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3"/>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8.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2_Comparison!02_Comparison Diagramm 81"/>
  <p:tag name="WASTB" val="TRUE"/>
</p:tagLst>
</file>

<file path=ppt/tags/tag9.xml><?xml version="1.0" encoding="utf-8"?>
<p:tagLst xmlns:a="http://schemas.openxmlformats.org/drawingml/2006/main" xmlns:r="http://schemas.openxmlformats.org/officeDocument/2006/relationships" xmlns:p="http://schemas.openxmlformats.org/presentationml/2006/main">
  <p:tag name="XLNAME" val="[\\Defr2fsr642\SDC\Live\GRP025\149325_6.2\Working\aktueller Stand\Planning\Workbook_Planning.xlsx]04_Cost split up_small!04_Cost split up_small Diagramm 3"/>
  <p:tag name="WASTB" val="TRUE"/>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A66F3A25-DDAF-4F9C-9EC7-C070DE56DA99}" vid="{DE4577A6-B610-45C4-BDC3-84C99DB1A8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0C5FB51930F184B8470DE91B960B2CC" ma:contentTypeVersion="1" ma:contentTypeDescription="Create a new document." ma:contentTypeScope="" ma:versionID="b0b2db6cb79bc243617bdfba5069fc8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D03FF7F-01F3-44D4-85DA-18652131D901}">
  <ds:schemaRefs>
    <ds:schemaRef ds:uri="http://schemas.microsoft.com/sharepoint/v3/contenttype/forms"/>
  </ds:schemaRefs>
</ds:datastoreItem>
</file>

<file path=customXml/itemProps2.xml><?xml version="1.0" encoding="utf-8"?>
<ds:datastoreItem xmlns:ds="http://schemas.openxmlformats.org/officeDocument/2006/customXml" ds:itemID="{049905AC-D9B7-4DEC-A7D3-D84CFE1B75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BD4102-E180-4F38-B1B8-D955219F9472}">
  <ds:schemaRef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0</TotalTime>
  <Words>1931</Words>
  <Application>Microsoft Office PowerPoint</Application>
  <PresentationFormat>A4-Papier (210x297 mm)</PresentationFormat>
  <Paragraphs>180</Paragraphs>
  <Slides>11</Slides>
  <Notes>1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KPMG Extralight</vt:lpstr>
      <vt:lpstr>KPMG Light</vt:lpstr>
      <vt:lpstr>Univers for KPMG Light</vt:lpstr>
      <vt:lpstr>Wingdings</vt:lpstr>
      <vt:lpstr>KPMG_Report_4x3_050216_2016</vt:lpstr>
      <vt:lpstr>Arbeitsblatt</vt:lpstr>
      <vt:lpstr>Workbook Investments (Planning)</vt:lpstr>
      <vt:lpstr>Disclaimer</vt:lpstr>
      <vt:lpstr>Overview (1/4) – Mission statement</vt:lpstr>
      <vt:lpstr>Overview (2/4) – Analysis puzzle</vt:lpstr>
      <vt:lpstr>Overview (3/4) – Pitfalls</vt:lpstr>
      <vt:lpstr>Overview (4/4) – Core issues</vt:lpstr>
      <vt:lpstr>1. Are the investments planned consistently with the past and have investment needs that have been identified for the future considered in the planning?</vt:lpstr>
      <vt:lpstr>2. Are the investments consistent for sales planning and the planned business model? </vt:lpstr>
      <vt:lpstr>3. What are the investment projects? </vt:lpstr>
      <vt:lpstr>4. Are the planned investments consistent with the market expectations and sector parameters?</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KM Germany</dc:creator>
  <cp:keywords/>
  <dc:description/>
  <cp:lastModifiedBy>Müller, Christian</cp:lastModifiedBy>
  <cp:revision>415</cp:revision>
  <dcterms:created xsi:type="dcterms:W3CDTF">2016-06-20T11:42:26Z</dcterms:created>
  <dcterms:modified xsi:type="dcterms:W3CDTF">2017-04-21T11:54:4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PMG_LayoutGrid">
    <vt:lpwstr>0</vt:lpwstr>
  </property>
  <property fmtid="{D5CDD505-2E9C-101B-9397-08002B2CF9AE}" pid="3" name="ContentTypeId">
    <vt:lpwstr>0x01010010C5FB51930F184B8470DE91B960B2CC</vt:lpwstr>
  </property>
</Properties>
</file>